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2.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4.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5.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3729" r:id="rId5"/>
    <p:sldMasterId id="2147485668" r:id="rId6"/>
    <p:sldMasterId id="2147485722" r:id="rId7"/>
    <p:sldMasterId id="2147485781" r:id="rId8"/>
    <p:sldMasterId id="2147485856" r:id="rId9"/>
  </p:sldMasterIdLst>
  <p:notesMasterIdLst>
    <p:notesMasterId r:id="rId90"/>
  </p:notesMasterIdLst>
  <p:handoutMasterIdLst>
    <p:handoutMasterId r:id="rId91"/>
  </p:handoutMasterIdLst>
  <p:sldIdLst>
    <p:sldId id="2076138253" r:id="rId10"/>
    <p:sldId id="2147483594" r:id="rId11"/>
    <p:sldId id="2076138216" r:id="rId12"/>
    <p:sldId id="2147477446" r:id="rId13"/>
    <p:sldId id="2147483598" r:id="rId14"/>
    <p:sldId id="2147483605" r:id="rId15"/>
    <p:sldId id="2147483597" r:id="rId16"/>
    <p:sldId id="261" r:id="rId17"/>
    <p:sldId id="2147483599" r:id="rId18"/>
    <p:sldId id="2147483600" r:id="rId19"/>
    <p:sldId id="2147483602" r:id="rId20"/>
    <p:sldId id="2147482047" r:id="rId21"/>
    <p:sldId id="2147482048" r:id="rId22"/>
    <p:sldId id="2147482049" r:id="rId23"/>
    <p:sldId id="2147483603" r:id="rId24"/>
    <p:sldId id="2147482036" r:id="rId25"/>
    <p:sldId id="2147482037" r:id="rId26"/>
    <p:sldId id="2147482038" r:id="rId27"/>
    <p:sldId id="2147482040" r:id="rId28"/>
    <p:sldId id="2147482043" r:id="rId29"/>
    <p:sldId id="2147482041" r:id="rId30"/>
    <p:sldId id="2147482050" r:id="rId31"/>
    <p:sldId id="2147482042" r:id="rId32"/>
    <p:sldId id="2147482046" r:id="rId33"/>
    <p:sldId id="2147482045" r:id="rId34"/>
    <p:sldId id="2147482051" r:id="rId35"/>
    <p:sldId id="2147482030" r:id="rId36"/>
    <p:sldId id="2147483604" r:id="rId37"/>
    <p:sldId id="2147482147" r:id="rId38"/>
    <p:sldId id="2147482062" r:id="rId39"/>
    <p:sldId id="2147482056" r:id="rId40"/>
    <p:sldId id="2147482057" r:id="rId41"/>
    <p:sldId id="2147482058" r:id="rId42"/>
    <p:sldId id="2147482059" r:id="rId43"/>
    <p:sldId id="2147482060" r:id="rId44"/>
    <p:sldId id="2147482061" r:id="rId45"/>
    <p:sldId id="2147482112" r:id="rId46"/>
    <p:sldId id="2147482131" r:id="rId47"/>
    <p:sldId id="2147482132" r:id="rId48"/>
    <p:sldId id="2147482115" r:id="rId49"/>
    <p:sldId id="2147482133" r:id="rId50"/>
    <p:sldId id="2147482116" r:id="rId51"/>
    <p:sldId id="2147482134" r:id="rId52"/>
    <p:sldId id="2147482118" r:id="rId53"/>
    <p:sldId id="2147482135" r:id="rId54"/>
    <p:sldId id="2147482119" r:id="rId55"/>
    <p:sldId id="2147482158" r:id="rId56"/>
    <p:sldId id="2147482139" r:id="rId57"/>
    <p:sldId id="2147482149" r:id="rId58"/>
    <p:sldId id="2147482150" r:id="rId59"/>
    <p:sldId id="2147482151" r:id="rId60"/>
    <p:sldId id="2147482146" r:id="rId61"/>
    <p:sldId id="2147482141" r:id="rId62"/>
    <p:sldId id="2147482140" r:id="rId63"/>
    <p:sldId id="2147482154" r:id="rId64"/>
    <p:sldId id="2147482145" r:id="rId65"/>
    <p:sldId id="2147482022" r:id="rId66"/>
    <p:sldId id="2147482023" r:id="rId67"/>
    <p:sldId id="2147482031" r:id="rId68"/>
    <p:sldId id="2147482024" r:id="rId69"/>
    <p:sldId id="2147482033" r:id="rId70"/>
    <p:sldId id="2147482025" r:id="rId71"/>
    <p:sldId id="2147482026" r:id="rId72"/>
    <p:sldId id="2147482027" r:id="rId73"/>
    <p:sldId id="2147482029" r:id="rId74"/>
    <p:sldId id="2147482032" r:id="rId75"/>
    <p:sldId id="2147482034" r:id="rId76"/>
    <p:sldId id="2147483596" r:id="rId77"/>
    <p:sldId id="2147483606" r:id="rId78"/>
    <p:sldId id="2147483607" r:id="rId79"/>
    <p:sldId id="2147483608" r:id="rId80"/>
    <p:sldId id="2147483609" r:id="rId81"/>
    <p:sldId id="2147483595" r:id="rId82"/>
    <p:sldId id="2147481085" r:id="rId83"/>
    <p:sldId id="2147482035" r:id="rId84"/>
    <p:sldId id="2147482195" r:id="rId85"/>
    <p:sldId id="2147482192" r:id="rId86"/>
    <p:sldId id="2147483531" r:id="rId87"/>
    <p:sldId id="2147483586" r:id="rId88"/>
    <p:sldId id="312" r:id="rId8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Pre session" id="{38B656EC-D568-4EF7-8842-9FA1AE1192C9}">
          <p14:sldIdLst>
            <p14:sldId id="2076138253"/>
            <p14:sldId id="2147483594"/>
            <p14:sldId id="2076138216"/>
            <p14:sldId id="2147477446"/>
            <p14:sldId id="2147483598"/>
            <p14:sldId id="2147483605"/>
            <p14:sldId id="2147483597"/>
            <p14:sldId id="261"/>
            <p14:sldId id="2147483599"/>
            <p14:sldId id="2147483600"/>
            <p14:sldId id="2147483602"/>
            <p14:sldId id="2147482047"/>
            <p14:sldId id="2147482048"/>
            <p14:sldId id="2147482049"/>
            <p14:sldId id="2147483603"/>
            <p14:sldId id="2147482036"/>
            <p14:sldId id="2147482037"/>
            <p14:sldId id="2147482038"/>
            <p14:sldId id="2147482040"/>
            <p14:sldId id="2147482043"/>
            <p14:sldId id="2147482041"/>
            <p14:sldId id="2147482050"/>
            <p14:sldId id="2147482042"/>
            <p14:sldId id="2147482046"/>
            <p14:sldId id="2147482045"/>
            <p14:sldId id="2147482051"/>
            <p14:sldId id="2147482030"/>
            <p14:sldId id="2147483604"/>
            <p14:sldId id="2147482147"/>
            <p14:sldId id="2147482062"/>
            <p14:sldId id="2147482056"/>
            <p14:sldId id="2147482057"/>
            <p14:sldId id="2147482058"/>
            <p14:sldId id="2147482059"/>
            <p14:sldId id="2147482060"/>
            <p14:sldId id="2147482061"/>
            <p14:sldId id="2147482112"/>
            <p14:sldId id="2147482131"/>
            <p14:sldId id="2147482132"/>
            <p14:sldId id="2147482115"/>
            <p14:sldId id="2147482133"/>
            <p14:sldId id="2147482116"/>
            <p14:sldId id="2147482134"/>
            <p14:sldId id="2147482118"/>
            <p14:sldId id="2147482135"/>
            <p14:sldId id="2147482119"/>
            <p14:sldId id="2147482158"/>
            <p14:sldId id="2147482139"/>
            <p14:sldId id="2147482149"/>
            <p14:sldId id="2147482150"/>
            <p14:sldId id="2147482151"/>
            <p14:sldId id="2147482146"/>
            <p14:sldId id="2147482141"/>
            <p14:sldId id="2147482140"/>
            <p14:sldId id="2147482154"/>
            <p14:sldId id="2147482145"/>
            <p14:sldId id="2147482022"/>
            <p14:sldId id="2147482023"/>
            <p14:sldId id="2147482031"/>
            <p14:sldId id="2147482024"/>
            <p14:sldId id="2147482033"/>
            <p14:sldId id="2147482025"/>
            <p14:sldId id="2147482026"/>
            <p14:sldId id="2147482027"/>
            <p14:sldId id="2147482029"/>
            <p14:sldId id="2147482032"/>
            <p14:sldId id="2147482034"/>
          </p14:sldIdLst>
        </p14:section>
        <p14:section name="Data analysis new features" id="{1A123404-FA9B-4FF0-9C39-49CFFF5EE5E1}">
          <p14:sldIdLst>
            <p14:sldId id="2147483596"/>
            <p14:sldId id="2147483606"/>
            <p14:sldId id="2147483607"/>
            <p14:sldId id="2147483608"/>
            <p14:sldId id="2147483609"/>
          </p14:sldIdLst>
        </p14:section>
        <p14:section name="Learn more…" id="{07A10C14-615E-40A8-81E3-E7AA17D2BF32}">
          <p14:sldIdLst>
            <p14:sldId id="2147483595"/>
            <p14:sldId id="2147481085"/>
            <p14:sldId id="2147482035"/>
            <p14:sldId id="2147482195"/>
            <p14:sldId id="2147482192"/>
            <p14:sldId id="2147483531"/>
            <p14:sldId id="2147483586"/>
            <p14:sldId id="31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5921C4B-C084-4843-A28F-CFAC2DE8D14D}" name="Jennifer Dorsey" initials="JD" userId="S::jdorse@microsoft.com::cb52d225-9ade-4c3c-800b-15ea31a242d9" providerId="AD"/>
  <p188:author id="{9260E078-D820-642D-FA0D-0999FBDB879E}" name="Emma Bak Nielsson" initials="EBN" userId="S::a-enielsson@microsoft.com::682e0cf2-d9bd-4d7f-92c3-9e168d9b34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David Griffith" initials="DG" lastIdx="5" clrIdx="5">
    <p:extLst>
      <p:ext uri="{19B8F6BF-5375-455C-9EA6-DF929625EA0E}">
        <p15:presenceInfo xmlns:p15="http://schemas.microsoft.com/office/powerpoint/2012/main" userId="David Griffi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4DC"/>
    <a:srgbClr val="329DDB"/>
    <a:srgbClr val="0086A1"/>
    <a:srgbClr val="D83B01"/>
    <a:srgbClr val="50E6FF"/>
    <a:srgbClr val="E6E6E6"/>
    <a:srgbClr val="D59DFF"/>
    <a:srgbClr val="770180"/>
    <a:srgbClr val="FF9349"/>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2E15F5-7D3D-4E80-AE3C-AF3D8BF1223C}" v="95" dt="2025-04-07T01:36:29.572"/>
    <p1510:client id="{8134002F-F1E2-4BA3-BA34-60C27907B015}" v="33" dt="2025-04-06T20:52:26.4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251" y="27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2.xml"/><Relationship Id="rId90" Type="http://schemas.openxmlformats.org/officeDocument/2006/relationships/notesMaster" Target="notesMasters/notesMaster1.xml"/><Relationship Id="rId95" Type="http://schemas.openxmlformats.org/officeDocument/2006/relationships/theme" Target="theme/theme1.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viewProps" Target="viewProps.xml"/><Relationship Id="rId9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presProps" Target="presProps.xml"/><Relationship Id="rId9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ya Ryom (Allegis Group Services)" userId="1eea4cee-ae01-4369-84a7-cd305b70b8b4" providerId="ADAL" clId="{3D91BC36-284E-4F49-8BA5-99D0936EE5CE}"/>
    <pc:docChg chg="undo custSel addSld delSld modSld modMainMaster modSection">
      <pc:chgData name="Maya Ryom (Allegis Group Services)" userId="1eea4cee-ae01-4369-84a7-cd305b70b8b4" providerId="ADAL" clId="{3D91BC36-284E-4F49-8BA5-99D0936EE5CE}" dt="2025-03-04T21:35:07.433" v="88" actId="962"/>
      <pc:docMkLst>
        <pc:docMk/>
      </pc:docMkLst>
      <pc:sldChg chg="del">
        <pc:chgData name="Maya Ryom (Allegis Group Services)" userId="1eea4cee-ae01-4369-84a7-cd305b70b8b4" providerId="ADAL" clId="{3D91BC36-284E-4F49-8BA5-99D0936EE5CE}" dt="2025-03-04T21:33:52.719" v="66" actId="47"/>
        <pc:sldMkLst>
          <pc:docMk/>
          <pc:sldMk cId="183623713" sldId="300"/>
        </pc:sldMkLst>
      </pc:sldChg>
      <pc:sldChg chg="del">
        <pc:chgData name="Maya Ryom (Allegis Group Services)" userId="1eea4cee-ae01-4369-84a7-cd305b70b8b4" providerId="ADAL" clId="{3D91BC36-284E-4F49-8BA5-99D0936EE5CE}" dt="2025-03-04T21:33:28.599" v="61" actId="47"/>
        <pc:sldMkLst>
          <pc:docMk/>
          <pc:sldMk cId="1811665972" sldId="1524"/>
        </pc:sldMkLst>
      </pc:sldChg>
      <pc:sldChg chg="del">
        <pc:chgData name="Maya Ryom (Allegis Group Services)" userId="1eea4cee-ae01-4369-84a7-cd305b70b8b4" providerId="ADAL" clId="{3D91BC36-284E-4F49-8BA5-99D0936EE5CE}" dt="2025-03-04T21:31:19.243" v="30" actId="47"/>
        <pc:sldMkLst>
          <pc:docMk/>
          <pc:sldMk cId="3957722359" sldId="1660"/>
        </pc:sldMkLst>
      </pc:sldChg>
      <pc:sldChg chg="addSp delSp modSp del mod">
        <pc:chgData name="Maya Ryom (Allegis Group Services)" userId="1eea4cee-ae01-4369-84a7-cd305b70b8b4" providerId="ADAL" clId="{3D91BC36-284E-4F49-8BA5-99D0936EE5CE}" dt="2025-03-04T21:33:27.041" v="60" actId="47"/>
        <pc:sldMkLst>
          <pc:docMk/>
          <pc:sldMk cId="1490695021" sldId="1716"/>
        </pc:sldMkLst>
      </pc:sldChg>
      <pc:sldChg chg="addSp delSp modSp mod">
        <pc:chgData name="Maya Ryom (Allegis Group Services)" userId="1eea4cee-ae01-4369-84a7-cd305b70b8b4" providerId="ADAL" clId="{3D91BC36-284E-4F49-8BA5-99D0936EE5CE}" dt="2025-03-04T21:34:41.969" v="76" actId="27614"/>
        <pc:sldMkLst>
          <pc:docMk/>
          <pc:sldMk cId="1122963436" sldId="2046"/>
        </pc:sldMkLst>
      </pc:sldChg>
      <pc:sldChg chg="del">
        <pc:chgData name="Maya Ryom (Allegis Group Services)" userId="1eea4cee-ae01-4369-84a7-cd305b70b8b4" providerId="ADAL" clId="{3D91BC36-284E-4F49-8BA5-99D0936EE5CE}" dt="2025-03-04T21:31:17.075" v="29" actId="47"/>
        <pc:sldMkLst>
          <pc:docMk/>
          <pc:sldMk cId="4178565498" sldId="2051"/>
        </pc:sldMkLst>
      </pc:sldChg>
      <pc:sldChg chg="del">
        <pc:chgData name="Maya Ryom (Allegis Group Services)" userId="1eea4cee-ae01-4369-84a7-cd305b70b8b4" providerId="ADAL" clId="{3D91BC36-284E-4F49-8BA5-99D0936EE5CE}" dt="2025-03-04T21:33:51.044" v="65" actId="47"/>
        <pc:sldMkLst>
          <pc:docMk/>
          <pc:sldMk cId="3627002918" sldId="2076137440"/>
        </pc:sldMkLst>
      </pc:sldChg>
      <pc:sldChg chg="del">
        <pc:chgData name="Maya Ryom (Allegis Group Services)" userId="1eea4cee-ae01-4369-84a7-cd305b70b8b4" providerId="ADAL" clId="{3D91BC36-284E-4F49-8BA5-99D0936EE5CE}" dt="2025-03-04T21:31:21.449" v="31" actId="47"/>
        <pc:sldMkLst>
          <pc:docMk/>
          <pc:sldMk cId="510793352" sldId="2076137993"/>
        </pc:sldMkLst>
      </pc:sldChg>
      <pc:sldChg chg="addSp delSp modSp mod">
        <pc:chgData name="Maya Ryom (Allegis Group Services)" userId="1eea4cee-ae01-4369-84a7-cd305b70b8b4" providerId="ADAL" clId="{3D91BC36-284E-4F49-8BA5-99D0936EE5CE}" dt="2025-03-04T21:34:52.767" v="79" actId="27614"/>
        <pc:sldMkLst>
          <pc:docMk/>
          <pc:sldMk cId="1787353190" sldId="2076138105"/>
        </pc:sldMkLst>
      </pc:sldChg>
      <pc:sldChg chg="addSp delSp modSp mod">
        <pc:chgData name="Maya Ryom (Allegis Group Services)" userId="1eea4cee-ae01-4369-84a7-cd305b70b8b4" providerId="ADAL" clId="{3D91BC36-284E-4F49-8BA5-99D0936EE5CE}" dt="2025-03-04T21:35:07.433" v="88" actId="962"/>
        <pc:sldMkLst>
          <pc:docMk/>
          <pc:sldMk cId="4269075036" sldId="2076138187"/>
        </pc:sldMkLst>
      </pc:sldChg>
      <pc:sldChg chg="addSp delSp modSp del mod">
        <pc:chgData name="Maya Ryom (Allegis Group Services)" userId="1eea4cee-ae01-4369-84a7-cd305b70b8b4" providerId="ADAL" clId="{3D91BC36-284E-4F49-8BA5-99D0936EE5CE}" dt="2025-03-04T21:33:22.801" v="59" actId="47"/>
        <pc:sldMkLst>
          <pc:docMk/>
          <pc:sldMk cId="4123554074" sldId="2076138231"/>
        </pc:sldMkLst>
      </pc:sldChg>
      <pc:sldChg chg="add">
        <pc:chgData name="Maya Ryom (Allegis Group Services)" userId="1eea4cee-ae01-4369-84a7-cd305b70b8b4" providerId="ADAL" clId="{3D91BC36-284E-4F49-8BA5-99D0936EE5CE}" dt="2025-03-04T21:15:43.114" v="9"/>
        <pc:sldMkLst>
          <pc:docMk/>
          <pc:sldMk cId="471867069" sldId="2076138237"/>
        </pc:sldMkLst>
      </pc:sldChg>
      <pc:sldChg chg="addSp delSp modSp mod">
        <pc:chgData name="Maya Ryom (Allegis Group Services)" userId="1eea4cee-ae01-4369-84a7-cd305b70b8b4" providerId="ADAL" clId="{3D91BC36-284E-4F49-8BA5-99D0936EE5CE}" dt="2025-03-04T21:29:17.499" v="16" actId="962"/>
        <pc:sldMkLst>
          <pc:docMk/>
          <pc:sldMk cId="3305917143" sldId="2076138251"/>
        </pc:sldMkLst>
      </pc:sldChg>
      <pc:sldChg chg="addSp delSp modSp add del mod">
        <pc:chgData name="Maya Ryom (Allegis Group Services)" userId="1eea4cee-ae01-4369-84a7-cd305b70b8b4" providerId="ADAL" clId="{3D91BC36-284E-4F49-8BA5-99D0936EE5CE}" dt="2025-03-04T21:33:21.204" v="58" actId="47"/>
        <pc:sldMkLst>
          <pc:docMk/>
          <pc:sldMk cId="2059063469" sldId="2076138252"/>
        </pc:sldMkLst>
      </pc:sldChg>
      <pc:sldChg chg="addSp delSp modSp mod">
        <pc:chgData name="Maya Ryom (Allegis Group Services)" userId="1eea4cee-ae01-4369-84a7-cd305b70b8b4" providerId="ADAL" clId="{3D91BC36-284E-4F49-8BA5-99D0936EE5CE}" dt="2025-03-04T21:16:02.396" v="12" actId="27614"/>
        <pc:sldMkLst>
          <pc:docMk/>
          <pc:sldMk cId="2501024343" sldId="2076138253"/>
        </pc:sldMkLst>
        <pc:picChg chg="add mod">
          <ac:chgData name="Maya Ryom (Allegis Group Services)" userId="1eea4cee-ae01-4369-84a7-cd305b70b8b4" providerId="ADAL" clId="{3D91BC36-284E-4F49-8BA5-99D0936EE5CE}" dt="2025-03-04T21:16:02.396" v="12" actId="27614"/>
          <ac:picMkLst>
            <pc:docMk/>
            <pc:sldMk cId="2501024343" sldId="2076138253"/>
            <ac:picMk id="3" creationId="{51FF76F3-F4B5-5B34-25CD-032225BC6679}"/>
          </ac:picMkLst>
        </pc:picChg>
      </pc:sldChg>
      <pc:sldChg chg="del">
        <pc:chgData name="Maya Ryom (Allegis Group Services)" userId="1eea4cee-ae01-4369-84a7-cd305b70b8b4" providerId="ADAL" clId="{3D91BC36-284E-4F49-8BA5-99D0936EE5CE}" dt="2025-03-04T21:14:38.113" v="8" actId="2696"/>
        <pc:sldMkLst>
          <pc:docMk/>
          <pc:sldMk cId="1720791678" sldId="2147478059"/>
        </pc:sldMkLst>
      </pc:sldChg>
      <pc:sldChg chg="del">
        <pc:chgData name="Maya Ryom (Allegis Group Services)" userId="1eea4cee-ae01-4369-84a7-cd305b70b8b4" providerId="ADAL" clId="{3D91BC36-284E-4F49-8BA5-99D0936EE5CE}" dt="2025-03-04T21:14:35.279" v="7" actId="2696"/>
        <pc:sldMkLst>
          <pc:docMk/>
          <pc:sldMk cId="1215250852" sldId="2147478897"/>
        </pc:sldMkLst>
      </pc:sldChg>
      <pc:sldChg chg="del">
        <pc:chgData name="Maya Ryom (Allegis Group Services)" userId="1eea4cee-ae01-4369-84a7-cd305b70b8b4" providerId="ADAL" clId="{3D91BC36-284E-4F49-8BA5-99D0936EE5CE}" dt="2025-03-04T21:33:35.205" v="62" actId="47"/>
        <pc:sldMkLst>
          <pc:docMk/>
          <pc:sldMk cId="2557948358" sldId="2147480920"/>
        </pc:sldMkLst>
      </pc:sldChg>
      <pc:sldChg chg="del">
        <pc:chgData name="Maya Ryom (Allegis Group Services)" userId="1eea4cee-ae01-4369-84a7-cd305b70b8b4" providerId="ADAL" clId="{3D91BC36-284E-4F49-8BA5-99D0936EE5CE}" dt="2025-03-04T21:33:43.692" v="63" actId="47"/>
        <pc:sldMkLst>
          <pc:docMk/>
          <pc:sldMk cId="2859828661" sldId="2147482002"/>
        </pc:sldMkLst>
      </pc:sldChg>
      <pc:sldChg chg="del">
        <pc:chgData name="Maya Ryom (Allegis Group Services)" userId="1eea4cee-ae01-4369-84a7-cd305b70b8b4" providerId="ADAL" clId="{3D91BC36-284E-4F49-8BA5-99D0936EE5CE}" dt="2025-03-04T21:33:47.672" v="64" actId="47"/>
        <pc:sldMkLst>
          <pc:docMk/>
          <pc:sldMk cId="3103066204" sldId="2147483583"/>
        </pc:sldMkLst>
      </pc:sldChg>
      <pc:sldChg chg="addSp delSp modSp add mod">
        <pc:chgData name="Maya Ryom (Allegis Group Services)" userId="1eea4cee-ae01-4369-84a7-cd305b70b8b4" providerId="ADAL" clId="{3D91BC36-284E-4F49-8BA5-99D0936EE5CE}" dt="2025-03-04T21:32:45.543" v="50"/>
        <pc:sldMkLst>
          <pc:docMk/>
          <pc:sldMk cId="3533999625" sldId="2147483584"/>
        </pc:sldMkLst>
      </pc:sldChg>
      <pc:sldChg chg="del">
        <pc:chgData name="Maya Ryom (Allegis Group Services)" userId="1eea4cee-ae01-4369-84a7-cd305b70b8b4" providerId="ADAL" clId="{3D91BC36-284E-4F49-8BA5-99D0936EE5CE}" dt="2025-03-04T21:33:05.724" v="53"/>
        <pc:sldMkLst>
          <pc:docMk/>
          <pc:sldMk cId="2310902131" sldId="2147483585"/>
        </pc:sldMkLst>
      </pc:sldChg>
      <pc:sldChg chg="addSp delSp modSp mod">
        <pc:chgData name="Maya Ryom (Allegis Group Services)" userId="1eea4cee-ae01-4369-84a7-cd305b70b8b4" providerId="ADAL" clId="{3D91BC36-284E-4F49-8BA5-99D0936EE5CE}" dt="2025-03-04T21:33:19.277" v="57"/>
        <pc:sldMkLst>
          <pc:docMk/>
          <pc:sldMk cId="3132991866" sldId="2147483585"/>
        </pc:sldMkLst>
        <pc:picChg chg="add mod">
          <ac:chgData name="Maya Ryom (Allegis Group Services)" userId="1eea4cee-ae01-4369-84a7-cd305b70b8b4" providerId="ADAL" clId="{3D91BC36-284E-4F49-8BA5-99D0936EE5CE}" dt="2025-03-04T21:33:19.277" v="57"/>
          <ac:picMkLst>
            <pc:docMk/>
            <pc:sldMk cId="3132991866" sldId="2147483585"/>
            <ac:picMk id="2" creationId="{3AAC8C94-41CB-9128-07FA-013ECD932BE0}"/>
          </ac:picMkLst>
        </pc:picChg>
      </pc:sldChg>
      <pc:sldMasterChg chg="modSldLayout">
        <pc:chgData name="Maya Ryom (Allegis Group Services)" userId="1eea4cee-ae01-4369-84a7-cd305b70b8b4" providerId="ADAL" clId="{3D91BC36-284E-4F49-8BA5-99D0936EE5CE}" dt="2025-03-04T21:31:54.886" v="36" actId="478"/>
        <pc:sldMasterMkLst>
          <pc:docMk/>
          <pc:sldMasterMk cId="3588427678" sldId="2147484229"/>
        </pc:sldMasterMkLst>
        <pc:sldLayoutChg chg="addSp delSp modSp mod">
          <pc:chgData name="Maya Ryom (Allegis Group Services)" userId="1eea4cee-ae01-4369-84a7-cd305b70b8b4" providerId="ADAL" clId="{3D91BC36-284E-4F49-8BA5-99D0936EE5CE}" dt="2025-03-04T21:13:44.892" v="3"/>
          <pc:sldLayoutMkLst>
            <pc:docMk/>
            <pc:sldMasterMk cId="3588427678" sldId="2147484229"/>
            <pc:sldLayoutMk cId="1849598128" sldId="2147484610"/>
          </pc:sldLayoutMkLst>
          <pc:picChg chg="add mod">
            <ac:chgData name="Maya Ryom (Allegis Group Services)" userId="1eea4cee-ae01-4369-84a7-cd305b70b8b4" providerId="ADAL" clId="{3D91BC36-284E-4F49-8BA5-99D0936EE5CE}" dt="2025-03-04T21:13:44.892" v="3"/>
            <ac:picMkLst>
              <pc:docMk/>
              <pc:sldMasterMk cId="3588427678" sldId="2147484229"/>
              <pc:sldLayoutMk cId="1849598128" sldId="2147484610"/>
              <ac:picMk id="3" creationId="{DEED7AF7-37A3-0E96-2ED9-116362078CF6}"/>
            </ac:picMkLst>
          </pc:picChg>
        </pc:sldLayoutChg>
        <pc:sldLayoutChg chg="addSp delSp modSp mod">
          <pc:chgData name="Maya Ryom (Allegis Group Services)" userId="1eea4cee-ae01-4369-84a7-cd305b70b8b4" providerId="ADAL" clId="{3D91BC36-284E-4F49-8BA5-99D0936EE5CE}" dt="2025-03-04T21:13:41.261" v="1"/>
          <pc:sldLayoutMkLst>
            <pc:docMk/>
            <pc:sldMasterMk cId="3588427678" sldId="2147484229"/>
            <pc:sldLayoutMk cId="3539202642" sldId="2147485190"/>
          </pc:sldLayoutMkLst>
          <pc:picChg chg="add mod">
            <ac:chgData name="Maya Ryom (Allegis Group Services)" userId="1eea4cee-ae01-4369-84a7-cd305b70b8b4" providerId="ADAL" clId="{3D91BC36-284E-4F49-8BA5-99D0936EE5CE}" dt="2025-03-04T21:13:41.261" v="1"/>
            <ac:picMkLst>
              <pc:docMk/>
              <pc:sldMasterMk cId="3588427678" sldId="2147484229"/>
              <pc:sldLayoutMk cId="3539202642" sldId="2147485190"/>
              <ac:picMk id="3" creationId="{39279663-60C4-0C6C-3571-795801E59DFC}"/>
            </ac:picMkLst>
          </pc:picChg>
        </pc:sldLayoutChg>
        <pc:sldLayoutChg chg="delSp mod">
          <pc:chgData name="Maya Ryom (Allegis Group Services)" userId="1eea4cee-ae01-4369-84a7-cd305b70b8b4" providerId="ADAL" clId="{3D91BC36-284E-4F49-8BA5-99D0936EE5CE}" dt="2025-03-04T21:31:54.886" v="36" actId="478"/>
          <pc:sldLayoutMkLst>
            <pc:docMk/>
            <pc:sldMasterMk cId="3588427678" sldId="2147484229"/>
            <pc:sldLayoutMk cId="3174014229" sldId="2147485205"/>
          </pc:sldLayoutMkLst>
        </pc:sldLayoutChg>
      </pc:sldMasterChg>
      <pc:sldMasterChg chg="delSldLayout">
        <pc:chgData name="Maya Ryom (Allegis Group Services)" userId="1eea4cee-ae01-4369-84a7-cd305b70b8b4" providerId="ADAL" clId="{3D91BC36-284E-4F49-8BA5-99D0936EE5CE}" dt="2025-03-04T21:33:51.044" v="65" actId="47"/>
        <pc:sldMasterMkLst>
          <pc:docMk/>
          <pc:sldMasterMk cId="231713050" sldId="2147485230"/>
        </pc:sldMasterMkLst>
        <pc:sldLayoutChg chg="del">
          <pc:chgData name="Maya Ryom (Allegis Group Services)" userId="1eea4cee-ae01-4369-84a7-cd305b70b8b4" providerId="ADAL" clId="{3D91BC36-284E-4F49-8BA5-99D0936EE5CE}" dt="2025-03-04T21:33:51.044" v="65" actId="47"/>
          <pc:sldLayoutMkLst>
            <pc:docMk/>
            <pc:sldMasterMk cId="231713050" sldId="2147485230"/>
            <pc:sldLayoutMk cId="3280899604" sldId="2147485515"/>
          </pc:sldLayoutMkLst>
        </pc:sldLayoutChg>
      </pc:sldMasterChg>
      <pc:sldMasterChg chg="modSldLayout">
        <pc:chgData name="Maya Ryom (Allegis Group Services)" userId="1eea4cee-ae01-4369-84a7-cd305b70b8b4" providerId="ADAL" clId="{3D91BC36-284E-4F49-8BA5-99D0936EE5CE}" dt="2025-03-04T21:14:06.286" v="6" actId="478"/>
        <pc:sldMasterMkLst>
          <pc:docMk/>
          <pc:sldMasterMk cId="1058933271" sldId="2147485328"/>
        </pc:sldMasterMkLst>
        <pc:sldLayoutChg chg="addSp modSp">
          <pc:chgData name="Maya Ryom (Allegis Group Services)" userId="1eea4cee-ae01-4369-84a7-cd305b70b8b4" providerId="ADAL" clId="{3D91BC36-284E-4F49-8BA5-99D0936EE5CE}" dt="2025-03-04T21:14:01.098" v="4"/>
          <pc:sldLayoutMkLst>
            <pc:docMk/>
            <pc:sldMasterMk cId="1058933271" sldId="2147485328"/>
            <pc:sldLayoutMk cId="2241530769" sldId="2147485390"/>
          </pc:sldLayoutMkLst>
        </pc:sldLayoutChg>
        <pc:sldLayoutChg chg="addSp delSp modSp mod">
          <pc:chgData name="Maya Ryom (Allegis Group Services)" userId="1eea4cee-ae01-4369-84a7-cd305b70b8b4" providerId="ADAL" clId="{3D91BC36-284E-4F49-8BA5-99D0936EE5CE}" dt="2025-03-04T21:14:06.286" v="6" actId="478"/>
          <pc:sldLayoutMkLst>
            <pc:docMk/>
            <pc:sldMasterMk cId="1058933271" sldId="2147485328"/>
            <pc:sldLayoutMk cId="488699525" sldId="2147485391"/>
          </pc:sldLayoutMkLst>
        </pc:sldLayoutChg>
      </pc:sldMasterChg>
    </pc:docChg>
  </pc:docChgLst>
  <pc:docChgLst>
    <pc:chgData name="Maya Ryom (Allegis Group Services)" userId="S::a-mayaryom@microsoft.com::1eea4cee-ae01-4369-84a7-cd305b70b8b4" providerId="AD" clId="Web-{2C425745-7A75-2F3B-03C5-4F1567E6ADC5}"/>
    <pc:docChg chg="addSld delSld modSld sldOrd delMainMaster modMainMaster modSection">
      <pc:chgData name="Maya Ryom (Allegis Group Services)" userId="S::a-mayaryom@microsoft.com::1eea4cee-ae01-4369-84a7-cd305b70b8b4" providerId="AD" clId="Web-{2C425745-7A75-2F3B-03C5-4F1567E6ADC5}" dt="2025-03-05T14:06:14.782" v="11"/>
      <pc:docMkLst>
        <pc:docMk/>
      </pc:docMkLst>
      <pc:sldChg chg="mod setBg">
        <pc:chgData name="Maya Ryom (Allegis Group Services)" userId="S::a-mayaryom@microsoft.com::1eea4cee-ae01-4369-84a7-cd305b70b8b4" providerId="AD" clId="Web-{2C425745-7A75-2F3B-03C5-4F1567E6ADC5}" dt="2025-03-05T13:04:41.808" v="5"/>
        <pc:sldMkLst>
          <pc:docMk/>
          <pc:sldMk cId="1787353190" sldId="2076138105"/>
        </pc:sldMkLst>
      </pc:sldChg>
      <pc:sldChg chg="mod setBg">
        <pc:chgData name="Maya Ryom (Allegis Group Services)" userId="S::a-mayaryom@microsoft.com::1eea4cee-ae01-4369-84a7-cd305b70b8b4" providerId="AD" clId="Web-{2C425745-7A75-2F3B-03C5-4F1567E6ADC5}" dt="2025-03-05T13:04:16.104" v="4"/>
        <pc:sldMkLst>
          <pc:docMk/>
          <pc:sldMk cId="4269075036" sldId="2076138187"/>
        </pc:sldMkLst>
      </pc:sldChg>
      <pc:sldChg chg="mod setBg">
        <pc:chgData name="Maya Ryom (Allegis Group Services)" userId="S::a-mayaryom@microsoft.com::1eea4cee-ae01-4369-84a7-cd305b70b8b4" providerId="AD" clId="Web-{2C425745-7A75-2F3B-03C5-4F1567E6ADC5}" dt="2025-03-05T13:04:52.840" v="6"/>
        <pc:sldMkLst>
          <pc:docMk/>
          <pc:sldMk cId="532229250" sldId="2147483531"/>
        </pc:sldMkLst>
      </pc:sldChg>
      <pc:sldChg chg="mod setBg">
        <pc:chgData name="Maya Ryom (Allegis Group Services)" userId="S::a-mayaryom@microsoft.com::1eea4cee-ae01-4369-84a7-cd305b70b8b4" providerId="AD" clId="Web-{2C425745-7A75-2F3B-03C5-4F1567E6ADC5}" dt="2025-03-05T13:05:00.028" v="7"/>
        <pc:sldMkLst>
          <pc:docMk/>
          <pc:sldMk cId="2058650604" sldId="2147483533"/>
        </pc:sldMkLst>
      </pc:sldChg>
      <pc:sldChg chg="new ord">
        <pc:chgData name="Maya Ryom (Allegis Group Services)" userId="S::a-mayaryom@microsoft.com::1eea4cee-ae01-4369-84a7-cd305b70b8b4" providerId="AD" clId="Web-{2C425745-7A75-2F3B-03C5-4F1567E6ADC5}" dt="2025-03-05T14:06:14.782" v="11"/>
        <pc:sldMkLst>
          <pc:docMk/>
          <pc:sldMk cId="3147611043" sldId="2147483586"/>
        </pc:sldMkLst>
      </pc:sldChg>
      <pc:sldChg chg="new del">
        <pc:chgData name="Maya Ryom (Allegis Group Services)" userId="S::a-mayaryom@microsoft.com::1eea4cee-ae01-4369-84a7-cd305b70b8b4" providerId="AD" clId="Web-{2C425745-7A75-2F3B-03C5-4F1567E6ADC5}" dt="2025-03-05T13:03:52.385" v="3"/>
        <pc:sldMkLst>
          <pc:docMk/>
          <pc:sldMk cId="3664468465" sldId="2147483586"/>
        </pc:sldMkLst>
      </pc:sldChg>
      <pc:sldChg chg="new ord">
        <pc:chgData name="Maya Ryom (Allegis Group Services)" userId="S::a-mayaryom@microsoft.com::1eea4cee-ae01-4369-84a7-cd305b70b8b4" providerId="AD" clId="Web-{2C425745-7A75-2F3B-03C5-4F1567E6ADC5}" dt="2025-03-05T14:06:14.782" v="10"/>
        <pc:sldMkLst>
          <pc:docMk/>
          <pc:sldMk cId="758100845" sldId="2147483587"/>
        </pc:sldMkLst>
      </pc:sldChg>
      <pc:sldMasterChg chg="delSldLayout modSldLayout sldLayoutOrd">
        <pc:chgData name="Maya Ryom (Allegis Group Services)" userId="S::a-mayaryom@microsoft.com::1eea4cee-ae01-4369-84a7-cd305b70b8b4" providerId="AD" clId="Web-{2C425745-7A75-2F3B-03C5-4F1567E6ADC5}" dt="2025-03-05T13:03:42.603" v="2"/>
        <pc:sldMasterMkLst>
          <pc:docMk/>
          <pc:sldMasterMk cId="3588427678" sldId="2147484229"/>
        </pc:sldMasterMkLst>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328010877" sldId="2147485517"/>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328010877" sldId="2147485517"/>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328010877" sldId="2147485517"/>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299623298" sldId="2147485518"/>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9623298" sldId="2147485518"/>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9623298" sldId="2147485518"/>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850122956" sldId="2147485519"/>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850122956" sldId="2147485519"/>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850122956" sldId="2147485519"/>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080020719" sldId="2147485520"/>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080020719" sldId="2147485520"/>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080020719" sldId="2147485520"/>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2910573651" sldId="2147485521"/>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10573651" sldId="2147485521"/>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10573651" sldId="2147485521"/>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2304877450" sldId="2147485522"/>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304877450" sldId="2147485522"/>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304877450" sldId="2147485522"/>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1925593987" sldId="2147485523"/>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1925593987" sldId="2147485523"/>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1925593987" sldId="2147485523"/>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624578158" sldId="2147485524"/>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624578158" sldId="2147485524"/>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624578158" sldId="2147485524"/>
              <ac:spMk id="5" creationId="{00000000-0000-0000-0000-000000000000}"/>
            </ac:spMkLst>
          </pc:spChg>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540828760" sldId="2147485525"/>
          </pc:sldLayoutMkLst>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665820359" sldId="2147485526"/>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665820359" sldId="2147485526"/>
              <ac:spMk id="5" creationId="{00000000-0000-0000-0000-000000000000}"/>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665820359" sldId="2147485526"/>
              <ac:spMk id="9" creationId="{00000000-0000-0000-0000-000000000000}"/>
            </ac:spMkLst>
          </pc:spChg>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64352042" sldId="214748552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483052164" sldId="214748552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66846682" sldId="214748552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309850670" sldId="214748553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513822897" sldId="214748553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43855743" sldId="214748553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427154703" sldId="214748553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518520640" sldId="214748553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4245147535" sldId="214748553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40417399" sldId="214748553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408075087" sldId="214748553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82182898" sldId="214748553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702748061" sldId="214748553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779977396" sldId="214748554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411408509" sldId="214748554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339357456" sldId="214748554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562606920" sldId="214748554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652530364" sldId="214748554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967802601" sldId="214748554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044016835" sldId="214748554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993322557" sldId="214748554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77708324" sldId="214748554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46975610" sldId="214748554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875418837" sldId="214748555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480920995" sldId="214748555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82473418" sldId="214748555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999911588" sldId="214748555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411767653" sldId="214748555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55964422" sldId="214748555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53144291" sldId="214748555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994165573" sldId="214748555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69076446" sldId="214748555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73552597" sldId="214748555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60854876" sldId="214748556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058577008" sldId="214748556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62962040" sldId="214748556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827303325" sldId="214748556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753273969" sldId="214748556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755104063" sldId="214748556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805564722" sldId="214748556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36017933" sldId="214748556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937215625" sldId="214748556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699733188" sldId="214748556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4248880288" sldId="214748557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962133272" sldId="214748557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63962080" sldId="214748557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569406959" sldId="214748557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782140854" sldId="214748557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834201931" sldId="214748557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741083812" sldId="214748557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547499038" sldId="214748557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927965190" sldId="214748557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908663760" sldId="214748557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565717976" sldId="214748558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536588311" sldId="214748558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717111316" sldId="2147485582"/>
          </pc:sldLayoutMkLst>
        </pc:sldLayoutChg>
        <pc:sldLayoutChg chg="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67764480" sldId="2147485583"/>
          </pc:sldLayoutMkLst>
        </pc:sldLayoutChg>
        <pc:sldLayoutChg chg="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866483256" sldId="214748558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25138925" sldId="214748558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239190398" sldId="2147485586"/>
          </pc:sldLayoutMkLst>
        </pc:sldLayoutChg>
        <pc:sldLayoutChg chg="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478937274" sldId="214748558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71306024" sldId="2147485588"/>
          </pc:sldLayoutMkLst>
        </pc:sldLayoutChg>
      </pc:sldMasterChg>
      <pc:sldMasterChg chg="del sldLayoutOrd">
        <pc:chgData name="Maya Ryom (Allegis Group Services)" userId="S::a-mayaryom@microsoft.com::1eea4cee-ae01-4369-84a7-cd305b70b8b4" providerId="AD" clId="Web-{2C425745-7A75-2F3B-03C5-4F1567E6ADC5}" dt="2025-03-05T13:03:42.603" v="2"/>
        <pc:sldMasterMkLst>
          <pc:docMk/>
          <pc:sldMasterMk cId="934087479" sldId="2147485516"/>
        </pc:sldMasterMkLst>
      </pc:sldMasterChg>
    </pc:docChg>
  </pc:docChgLst>
  <pc:docChgLst>
    <pc:chgData name="Fabio Araujo" userId="d4f88c82-9b96-44bb-9d5f-ebe336738fd6" providerId="ADAL" clId="{02A1BE0B-8596-40A8-A325-FA05E27D3D9C}"/>
    <pc:docChg chg="modSld">
      <pc:chgData name="Fabio Araujo" userId="d4f88c82-9b96-44bb-9d5f-ebe336738fd6" providerId="ADAL" clId="{02A1BE0B-8596-40A8-A325-FA05E27D3D9C}" dt="2025-03-13T14:54:35.238" v="38" actId="20577"/>
      <pc:docMkLst>
        <pc:docMk/>
      </pc:docMkLst>
      <pc:sldChg chg="modSp mod">
        <pc:chgData name="Fabio Araujo" userId="d4f88c82-9b96-44bb-9d5f-ebe336738fd6" providerId="ADAL" clId="{02A1BE0B-8596-40A8-A325-FA05E27D3D9C}" dt="2025-03-13T14:54:35.238" v="38" actId="20577"/>
        <pc:sldMkLst>
          <pc:docMk/>
          <pc:sldMk cId="2501024343" sldId="2076138253"/>
        </pc:sldMkLst>
        <pc:spChg chg="mod">
          <ac:chgData name="Fabio Araujo" userId="d4f88c82-9b96-44bb-9d5f-ebe336738fd6" providerId="ADAL" clId="{02A1BE0B-8596-40A8-A325-FA05E27D3D9C}" dt="2025-03-13T14:54:35.238" v="38" actId="20577"/>
          <ac:spMkLst>
            <pc:docMk/>
            <pc:sldMk cId="2501024343" sldId="2076138253"/>
            <ac:spMk id="5" creationId="{00000000-0000-0000-0000-000000000000}"/>
          </ac:spMkLst>
        </pc:spChg>
        <pc:spChg chg="mod">
          <ac:chgData name="Fabio Araujo" userId="d4f88c82-9b96-44bb-9d5f-ebe336738fd6" providerId="ADAL" clId="{02A1BE0B-8596-40A8-A325-FA05E27D3D9C}" dt="2025-03-13T14:54:26.351" v="4" actId="1076"/>
          <ac:spMkLst>
            <pc:docMk/>
            <pc:sldMk cId="2501024343" sldId="2076138253"/>
            <ac:spMk id="7" creationId="{9B99A9B6-3F8A-938D-7CA2-A3101C08D350}"/>
          </ac:spMkLst>
        </pc:spChg>
      </pc:sldChg>
    </pc:docChg>
  </pc:docChgLst>
  <pc:docChgLst>
    <pc:chgData name="Peter Borring" userId="0ac616bd-932d-4802-b407-e2f8fac2c2fe" providerId="ADAL" clId="{482E15F5-7D3D-4E80-AE3C-AF3D8BF1223C}"/>
    <pc:docChg chg="undo custSel addSld modSld addSection delSection modSection">
      <pc:chgData name="Peter Borring" userId="0ac616bd-932d-4802-b407-e2f8fac2c2fe" providerId="ADAL" clId="{482E15F5-7D3D-4E80-AE3C-AF3D8BF1223C}" dt="2025-04-07T01:36:29.572" v="94" actId="6549"/>
      <pc:docMkLst>
        <pc:docMk/>
      </pc:docMkLst>
      <pc:sldChg chg="modSp add mod">
        <pc:chgData name="Peter Borring" userId="0ac616bd-932d-4802-b407-e2f8fac2c2fe" providerId="ADAL" clId="{482E15F5-7D3D-4E80-AE3C-AF3D8BF1223C}" dt="2025-04-07T01:28:35.501" v="7" actId="207"/>
        <pc:sldMkLst>
          <pc:docMk/>
          <pc:sldMk cId="3554518497" sldId="2147483606"/>
        </pc:sldMkLst>
        <pc:spChg chg="mod">
          <ac:chgData name="Peter Borring" userId="0ac616bd-932d-4802-b407-e2f8fac2c2fe" providerId="ADAL" clId="{482E15F5-7D3D-4E80-AE3C-AF3D8BF1223C}" dt="2025-04-07T01:28:35.501" v="7" actId="207"/>
          <ac:spMkLst>
            <pc:docMk/>
            <pc:sldMk cId="3554518497" sldId="2147483606"/>
            <ac:spMk id="15" creationId="{762409D7-C0AD-8CD3-84FA-1D3ACDE03B55}"/>
          </ac:spMkLst>
        </pc:spChg>
      </pc:sldChg>
      <pc:sldChg chg="modSp add mod">
        <pc:chgData name="Peter Borring" userId="0ac616bd-932d-4802-b407-e2f8fac2c2fe" providerId="ADAL" clId="{482E15F5-7D3D-4E80-AE3C-AF3D8BF1223C}" dt="2025-04-07T01:28:39.237" v="8" actId="207"/>
        <pc:sldMkLst>
          <pc:docMk/>
          <pc:sldMk cId="1014615121" sldId="2147483607"/>
        </pc:sldMkLst>
        <pc:spChg chg="mod">
          <ac:chgData name="Peter Borring" userId="0ac616bd-932d-4802-b407-e2f8fac2c2fe" providerId="ADAL" clId="{482E15F5-7D3D-4E80-AE3C-AF3D8BF1223C}" dt="2025-04-07T01:28:39.237" v="8" actId="207"/>
          <ac:spMkLst>
            <pc:docMk/>
            <pc:sldMk cId="1014615121" sldId="2147483607"/>
            <ac:spMk id="2" creationId="{A39C554E-916B-D408-1F95-FCC01C8D23A7}"/>
          </ac:spMkLst>
        </pc:spChg>
      </pc:sldChg>
      <pc:sldChg chg="add modNotesTx">
        <pc:chgData name="Peter Borring" userId="0ac616bd-932d-4802-b407-e2f8fac2c2fe" providerId="ADAL" clId="{482E15F5-7D3D-4E80-AE3C-AF3D8BF1223C}" dt="2025-04-07T01:36:29.572" v="94" actId="6549"/>
        <pc:sldMkLst>
          <pc:docMk/>
          <pc:sldMk cId="719850756" sldId="2147483608"/>
        </pc:sldMkLst>
      </pc:sldChg>
      <pc:sldChg chg="modSp add mod">
        <pc:chgData name="Peter Borring" userId="0ac616bd-932d-4802-b407-e2f8fac2c2fe" providerId="ADAL" clId="{482E15F5-7D3D-4E80-AE3C-AF3D8BF1223C}" dt="2025-04-07T01:35:27.770" v="17" actId="113"/>
        <pc:sldMkLst>
          <pc:docMk/>
          <pc:sldMk cId="1225917641" sldId="2147483609"/>
        </pc:sldMkLst>
        <pc:spChg chg="mod">
          <ac:chgData name="Peter Borring" userId="0ac616bd-932d-4802-b407-e2f8fac2c2fe" providerId="ADAL" clId="{482E15F5-7D3D-4E80-AE3C-AF3D8BF1223C}" dt="2025-04-07T01:29:02.004" v="9" actId="207"/>
          <ac:spMkLst>
            <pc:docMk/>
            <pc:sldMk cId="1225917641" sldId="2147483609"/>
            <ac:spMk id="13" creationId="{65A889C7-B9CD-7385-BD9E-F50D18B47B52}"/>
          </ac:spMkLst>
        </pc:spChg>
        <pc:spChg chg="mod">
          <ac:chgData name="Peter Borring" userId="0ac616bd-932d-4802-b407-e2f8fac2c2fe" providerId="ADAL" clId="{482E15F5-7D3D-4E80-AE3C-AF3D8BF1223C}" dt="2025-04-07T01:29:04.235" v="10" actId="207"/>
          <ac:spMkLst>
            <pc:docMk/>
            <pc:sldMk cId="1225917641" sldId="2147483609"/>
            <ac:spMk id="14" creationId="{BEB56D8D-E3D1-DCFB-6D73-A0ED1FC8AD5D}"/>
          </ac:spMkLst>
        </pc:spChg>
        <pc:spChg chg="mod">
          <ac:chgData name="Peter Borring" userId="0ac616bd-932d-4802-b407-e2f8fac2c2fe" providerId="ADAL" clId="{482E15F5-7D3D-4E80-AE3C-AF3D8BF1223C}" dt="2025-04-07T01:29:49.972" v="16" actId="113"/>
          <ac:spMkLst>
            <pc:docMk/>
            <pc:sldMk cId="1225917641" sldId="2147483609"/>
            <ac:spMk id="15" creationId="{50F7EA4B-9DD5-2DEA-DE15-E0F022058B50}"/>
          </ac:spMkLst>
        </pc:spChg>
        <pc:spChg chg="mod">
          <ac:chgData name="Peter Borring" userId="0ac616bd-932d-4802-b407-e2f8fac2c2fe" providerId="ADAL" clId="{482E15F5-7D3D-4E80-AE3C-AF3D8BF1223C}" dt="2025-04-07T01:35:27.770" v="17" actId="113"/>
          <ac:spMkLst>
            <pc:docMk/>
            <pc:sldMk cId="1225917641" sldId="2147483609"/>
            <ac:spMk id="16" creationId="{D2A67CC8-F08D-F44A-5143-96A8194ACE02}"/>
          </ac:spMkLst>
        </pc:spChg>
      </pc:sldChg>
    </pc:docChg>
  </pc:docChgLst>
  <pc:docChgLst>
    <pc:chgData name="Kennie Pontoppidan" userId="0b66d239-c77c-454e-82ce-695a270d63fb" providerId="ADAL" clId="{514CB770-510F-4C4F-9F11-E7EF41B855AA}"/>
    <pc:docChg chg="undo custSel addSld delSld modSld sldOrd addSection delSection modSection">
      <pc:chgData name="Kennie Pontoppidan" userId="0b66d239-c77c-454e-82ce-695a270d63fb" providerId="ADAL" clId="{514CB770-510F-4C4F-9F11-E7EF41B855AA}" dt="2025-03-31T23:39:18.693" v="455"/>
      <pc:docMkLst>
        <pc:docMk/>
      </pc:docMkLst>
      <pc:sldChg chg="del">
        <pc:chgData name="Kennie Pontoppidan" userId="0b66d239-c77c-454e-82ce-695a270d63fb" providerId="ADAL" clId="{514CB770-510F-4C4F-9F11-E7EF41B855AA}" dt="2025-03-31T23:15:49.030" v="57" actId="18676"/>
        <pc:sldMkLst>
          <pc:docMk/>
          <pc:sldMk cId="2402828649" sldId="1532"/>
        </pc:sldMkLst>
      </pc:sldChg>
      <pc:sldChg chg="del">
        <pc:chgData name="Kennie Pontoppidan" userId="0b66d239-c77c-454e-82ce-695a270d63fb" providerId="ADAL" clId="{514CB770-510F-4C4F-9F11-E7EF41B855AA}" dt="2025-03-31T23:15:49.030" v="57" actId="18676"/>
        <pc:sldMkLst>
          <pc:docMk/>
          <pc:sldMk cId="2639379867" sldId="1720"/>
        </pc:sldMkLst>
      </pc:sldChg>
      <pc:sldChg chg="del">
        <pc:chgData name="Kennie Pontoppidan" userId="0b66d239-c77c-454e-82ce-695a270d63fb" providerId="ADAL" clId="{514CB770-510F-4C4F-9F11-E7EF41B855AA}" dt="2025-03-31T23:15:49.030" v="57" actId="18676"/>
        <pc:sldMkLst>
          <pc:docMk/>
          <pc:sldMk cId="1122963436" sldId="2046"/>
        </pc:sldMkLst>
      </pc:sldChg>
      <pc:sldChg chg="del">
        <pc:chgData name="Kennie Pontoppidan" userId="0b66d239-c77c-454e-82ce-695a270d63fb" providerId="ADAL" clId="{514CB770-510F-4C4F-9F11-E7EF41B855AA}" dt="2025-03-31T23:15:49.030" v="57" actId="18676"/>
        <pc:sldMkLst>
          <pc:docMk/>
          <pc:sldMk cId="1787353190" sldId="2076138105"/>
        </pc:sldMkLst>
      </pc:sldChg>
      <pc:sldChg chg="del">
        <pc:chgData name="Kennie Pontoppidan" userId="0b66d239-c77c-454e-82ce-695a270d63fb" providerId="ADAL" clId="{514CB770-510F-4C4F-9F11-E7EF41B855AA}" dt="2025-03-31T23:15:49.030" v="57" actId="18676"/>
        <pc:sldMkLst>
          <pc:docMk/>
          <pc:sldMk cId="4269075036" sldId="2076138187"/>
        </pc:sldMkLst>
      </pc:sldChg>
      <pc:sldChg chg="modSp mod">
        <pc:chgData name="Kennie Pontoppidan" userId="0b66d239-c77c-454e-82ce-695a270d63fb" providerId="ADAL" clId="{514CB770-510F-4C4F-9F11-E7EF41B855AA}" dt="2025-03-31T23:28:30.941" v="383" actId="20577"/>
        <pc:sldMkLst>
          <pc:docMk/>
          <pc:sldMk cId="426918691" sldId="2076138216"/>
        </pc:sldMkLst>
        <pc:spChg chg="mod">
          <ac:chgData name="Kennie Pontoppidan" userId="0b66d239-c77c-454e-82ce-695a270d63fb" providerId="ADAL" clId="{514CB770-510F-4C4F-9F11-E7EF41B855AA}" dt="2025-03-31T23:28:30.941" v="383" actId="20577"/>
          <ac:spMkLst>
            <pc:docMk/>
            <pc:sldMk cId="426918691" sldId="2076138216"/>
            <ac:spMk id="6" creationId="{460D15DF-EF97-44E8-BCDF-D3F111A97291}"/>
          </ac:spMkLst>
        </pc:spChg>
      </pc:sldChg>
      <pc:sldChg chg="del">
        <pc:chgData name="Kennie Pontoppidan" userId="0b66d239-c77c-454e-82ce-695a270d63fb" providerId="ADAL" clId="{514CB770-510F-4C4F-9F11-E7EF41B855AA}" dt="2025-03-31T23:15:49.030" v="57" actId="18676"/>
        <pc:sldMkLst>
          <pc:docMk/>
          <pc:sldMk cId="1119697693" sldId="2076138218"/>
        </pc:sldMkLst>
      </pc:sldChg>
      <pc:sldChg chg="del">
        <pc:chgData name="Kennie Pontoppidan" userId="0b66d239-c77c-454e-82ce-695a270d63fb" providerId="ADAL" clId="{514CB770-510F-4C4F-9F11-E7EF41B855AA}" dt="2025-03-31T23:15:11.731" v="54" actId="18676"/>
        <pc:sldMkLst>
          <pc:docMk/>
          <pc:sldMk cId="3450065845" sldId="2076138227"/>
        </pc:sldMkLst>
      </pc:sldChg>
      <pc:sldChg chg="del">
        <pc:chgData name="Kennie Pontoppidan" userId="0b66d239-c77c-454e-82ce-695a270d63fb" providerId="ADAL" clId="{514CB770-510F-4C4F-9F11-E7EF41B855AA}" dt="2025-03-31T23:15:11.731" v="54" actId="18676"/>
        <pc:sldMkLst>
          <pc:docMk/>
          <pc:sldMk cId="1692797587" sldId="2076138228"/>
        </pc:sldMkLst>
      </pc:sldChg>
      <pc:sldChg chg="del">
        <pc:chgData name="Kennie Pontoppidan" userId="0b66d239-c77c-454e-82ce-695a270d63fb" providerId="ADAL" clId="{514CB770-510F-4C4F-9F11-E7EF41B855AA}" dt="2025-03-31T23:01:12.188" v="53" actId="18676"/>
        <pc:sldMkLst>
          <pc:docMk/>
          <pc:sldMk cId="1108801255" sldId="2076138246"/>
        </pc:sldMkLst>
      </pc:sldChg>
      <pc:sldChg chg="modSp mod">
        <pc:chgData name="Kennie Pontoppidan" userId="0b66d239-c77c-454e-82ce-695a270d63fb" providerId="ADAL" clId="{514CB770-510F-4C4F-9F11-E7EF41B855AA}" dt="2025-03-31T22:59:54.246" v="27" actId="20577"/>
        <pc:sldMkLst>
          <pc:docMk/>
          <pc:sldMk cId="2501024343" sldId="2076138253"/>
        </pc:sldMkLst>
        <pc:spChg chg="mod">
          <ac:chgData name="Kennie Pontoppidan" userId="0b66d239-c77c-454e-82ce-695a270d63fb" providerId="ADAL" clId="{514CB770-510F-4C4F-9F11-E7EF41B855AA}" dt="2025-03-31T22:59:54.246" v="27" actId="20577"/>
          <ac:spMkLst>
            <pc:docMk/>
            <pc:sldMk cId="2501024343" sldId="2076138253"/>
            <ac:spMk id="5" creationId="{00000000-0000-0000-0000-000000000000}"/>
          </ac:spMkLst>
        </pc:spChg>
        <pc:spChg chg="mod">
          <ac:chgData name="Kennie Pontoppidan" userId="0b66d239-c77c-454e-82ce-695a270d63fb" providerId="ADAL" clId="{514CB770-510F-4C4F-9F11-E7EF41B855AA}" dt="2025-03-31T22:59:46.470" v="0"/>
          <ac:spMkLst>
            <pc:docMk/>
            <pc:sldMk cId="2501024343" sldId="2076138253"/>
            <ac:spMk id="7" creationId="{9B99A9B6-3F8A-938D-7CA2-A3101C08D350}"/>
          </ac:spMkLst>
        </pc:spChg>
      </pc:sldChg>
      <pc:sldChg chg="add">
        <pc:chgData name="Kennie Pontoppidan" userId="0b66d239-c77c-454e-82ce-695a270d63fb" providerId="ADAL" clId="{514CB770-510F-4C4F-9F11-E7EF41B855AA}" dt="2025-03-31T23:31:15.878" v="400"/>
        <pc:sldMkLst>
          <pc:docMk/>
          <pc:sldMk cId="3695463837" sldId="2147477446"/>
        </pc:sldMkLst>
      </pc:sldChg>
      <pc:sldChg chg="add">
        <pc:chgData name="Kennie Pontoppidan" userId="0b66d239-c77c-454e-82ce-695a270d63fb" providerId="ADAL" clId="{514CB770-510F-4C4F-9F11-E7EF41B855AA}" dt="2025-03-31T23:31:15.878" v="400"/>
        <pc:sldMkLst>
          <pc:docMk/>
          <pc:sldMk cId="1802057085" sldId="2147477949"/>
        </pc:sldMkLst>
      </pc:sldChg>
      <pc:sldChg chg="add del">
        <pc:chgData name="Kennie Pontoppidan" userId="0b66d239-c77c-454e-82ce-695a270d63fb" providerId="ADAL" clId="{514CB770-510F-4C4F-9F11-E7EF41B855AA}" dt="2025-03-31T23:28:10.746" v="349" actId="47"/>
        <pc:sldMkLst>
          <pc:docMk/>
          <pc:sldMk cId="637898953" sldId="2147482004"/>
        </pc:sldMkLst>
      </pc:sldChg>
      <pc:sldChg chg="del">
        <pc:chgData name="Kennie Pontoppidan" userId="0b66d239-c77c-454e-82ce-695a270d63fb" providerId="ADAL" clId="{514CB770-510F-4C4F-9F11-E7EF41B855AA}" dt="2025-03-31T23:15:49.030" v="57" actId="18676"/>
        <pc:sldMkLst>
          <pc:docMk/>
          <pc:sldMk cId="714851439" sldId="2147482005"/>
        </pc:sldMkLst>
      </pc:sldChg>
      <pc:sldChg chg="addSp modSp add">
        <pc:chgData name="Kennie Pontoppidan" userId="0b66d239-c77c-454e-82ce-695a270d63fb" providerId="ADAL" clId="{514CB770-510F-4C4F-9F11-E7EF41B855AA}" dt="2025-03-31T23:39:01.563" v="448"/>
        <pc:sldMkLst>
          <pc:docMk/>
          <pc:sldMk cId="2331427682" sldId="2147482010"/>
        </pc:sldMkLst>
      </pc:sldChg>
      <pc:sldChg chg="del">
        <pc:chgData name="Kennie Pontoppidan" userId="0b66d239-c77c-454e-82ce-695a270d63fb" providerId="ADAL" clId="{514CB770-510F-4C4F-9F11-E7EF41B855AA}" dt="2025-03-31T23:15:49.030" v="57" actId="18676"/>
        <pc:sldMkLst>
          <pc:docMk/>
          <pc:sldMk cId="1495234749" sldId="2147482014"/>
        </pc:sldMkLst>
      </pc:sldChg>
      <pc:sldChg chg="del">
        <pc:chgData name="Kennie Pontoppidan" userId="0b66d239-c77c-454e-82ce-695a270d63fb" providerId="ADAL" clId="{514CB770-510F-4C4F-9F11-E7EF41B855AA}" dt="2025-03-31T23:15:49.030" v="57" actId="18676"/>
        <pc:sldMkLst>
          <pc:docMk/>
          <pc:sldMk cId="2331023263" sldId="2147482019"/>
        </pc:sldMkLst>
      </pc:sldChg>
      <pc:sldChg chg="addSp modSp add">
        <pc:chgData name="Kennie Pontoppidan" userId="0b66d239-c77c-454e-82ce-695a270d63fb" providerId="ADAL" clId="{514CB770-510F-4C4F-9F11-E7EF41B855AA}" dt="2025-03-31T23:38:50.452" v="445"/>
        <pc:sldMkLst>
          <pc:docMk/>
          <pc:sldMk cId="2630731566" sldId="2147482020"/>
        </pc:sldMkLst>
      </pc:sldChg>
      <pc:sldChg chg="add del">
        <pc:chgData name="Kennie Pontoppidan" userId="0b66d239-c77c-454e-82ce-695a270d63fb" providerId="ADAL" clId="{514CB770-510F-4C4F-9F11-E7EF41B855AA}" dt="2025-03-31T23:28:10.746" v="349" actId="47"/>
        <pc:sldMkLst>
          <pc:docMk/>
          <pc:sldMk cId="3538326773" sldId="2147482020"/>
        </pc:sldMkLst>
      </pc:sldChg>
      <pc:sldChg chg="addSp delSp modSp add mod">
        <pc:chgData name="Kennie Pontoppidan" userId="0b66d239-c77c-454e-82ce-695a270d63fb" providerId="ADAL" clId="{514CB770-510F-4C4F-9F11-E7EF41B855AA}" dt="2025-03-31T23:38:30.731" v="439" actId="164"/>
        <pc:sldMkLst>
          <pc:docMk/>
          <pc:sldMk cId="541705985" sldId="2147482021"/>
        </pc:sldMkLst>
      </pc:sldChg>
      <pc:sldChg chg="add del">
        <pc:chgData name="Kennie Pontoppidan" userId="0b66d239-c77c-454e-82ce-695a270d63fb" providerId="ADAL" clId="{514CB770-510F-4C4F-9F11-E7EF41B855AA}" dt="2025-03-31T23:27:02.423" v="343" actId="47"/>
        <pc:sldMkLst>
          <pc:docMk/>
          <pc:sldMk cId="2763127596" sldId="2147482021"/>
        </pc:sldMkLst>
      </pc:sldChg>
      <pc:sldChg chg="add">
        <pc:chgData name="Kennie Pontoppidan" userId="0b66d239-c77c-454e-82ce-695a270d63fb" providerId="ADAL" clId="{514CB770-510F-4C4F-9F11-E7EF41B855AA}" dt="2025-03-31T23:33:07.187" v="405"/>
        <pc:sldMkLst>
          <pc:docMk/>
          <pc:sldMk cId="2809818169" sldId="2147482022"/>
        </pc:sldMkLst>
      </pc:sldChg>
      <pc:sldChg chg="addSp modSp add">
        <pc:chgData name="Kennie Pontoppidan" userId="0b66d239-c77c-454e-82ce-695a270d63fb" providerId="ADAL" clId="{514CB770-510F-4C4F-9F11-E7EF41B855AA}" dt="2025-03-31T23:38:39.841" v="441"/>
        <pc:sldMkLst>
          <pc:docMk/>
          <pc:sldMk cId="894318118" sldId="2147482023"/>
        </pc:sldMkLst>
      </pc:sldChg>
      <pc:sldChg chg="add del">
        <pc:chgData name="Kennie Pontoppidan" userId="0b66d239-c77c-454e-82ce-695a270d63fb" providerId="ADAL" clId="{514CB770-510F-4C4F-9F11-E7EF41B855AA}" dt="2025-03-31T23:30:47.116" v="399" actId="47"/>
        <pc:sldMkLst>
          <pc:docMk/>
          <pc:sldMk cId="1795024024" sldId="2147482024"/>
        </pc:sldMkLst>
      </pc:sldChg>
      <pc:sldChg chg="addSp modSp add">
        <pc:chgData name="Kennie Pontoppidan" userId="0b66d239-c77c-454e-82ce-695a270d63fb" providerId="ADAL" clId="{514CB770-510F-4C4F-9F11-E7EF41B855AA}" dt="2025-03-31T23:38:43.154" v="442"/>
        <pc:sldMkLst>
          <pc:docMk/>
          <pc:sldMk cId="347357363" sldId="2147482025"/>
        </pc:sldMkLst>
      </pc:sldChg>
      <pc:sldChg chg="addSp modSp add">
        <pc:chgData name="Kennie Pontoppidan" userId="0b66d239-c77c-454e-82ce-695a270d63fb" providerId="ADAL" clId="{514CB770-510F-4C4F-9F11-E7EF41B855AA}" dt="2025-03-31T23:38:44.654" v="443"/>
        <pc:sldMkLst>
          <pc:docMk/>
          <pc:sldMk cId="1050420302" sldId="2147482026"/>
        </pc:sldMkLst>
      </pc:sldChg>
      <pc:sldChg chg="add">
        <pc:chgData name="Kennie Pontoppidan" userId="0b66d239-c77c-454e-82ce-695a270d63fb" providerId="ADAL" clId="{514CB770-510F-4C4F-9F11-E7EF41B855AA}" dt="2025-03-31T23:25:58.532" v="338"/>
        <pc:sldMkLst>
          <pc:docMk/>
          <pc:sldMk cId="2824698492" sldId="2147482028"/>
        </pc:sldMkLst>
      </pc:sldChg>
      <pc:sldChg chg="add">
        <pc:chgData name="Kennie Pontoppidan" userId="0b66d239-c77c-454e-82ce-695a270d63fb" providerId="ADAL" clId="{514CB770-510F-4C4F-9F11-E7EF41B855AA}" dt="2025-03-31T23:25:58.532" v="338"/>
        <pc:sldMkLst>
          <pc:docMk/>
          <pc:sldMk cId="2902480803" sldId="2147482029"/>
        </pc:sldMkLst>
      </pc:sldChg>
      <pc:sldChg chg="addSp modSp add">
        <pc:chgData name="Kennie Pontoppidan" userId="0b66d239-c77c-454e-82ce-695a270d63fb" providerId="ADAL" clId="{514CB770-510F-4C4F-9F11-E7EF41B855AA}" dt="2025-03-31T23:38:59.842" v="447"/>
        <pc:sldMkLst>
          <pc:docMk/>
          <pc:sldMk cId="1094840587" sldId="2147482033"/>
        </pc:sldMkLst>
      </pc:sldChg>
      <pc:sldChg chg="addSp modSp add mod">
        <pc:chgData name="Kennie Pontoppidan" userId="0b66d239-c77c-454e-82ce-695a270d63fb" providerId="ADAL" clId="{514CB770-510F-4C4F-9F11-E7EF41B855AA}" dt="2025-03-31T23:39:11.982" v="454" actId="6549"/>
        <pc:sldMkLst>
          <pc:docMk/>
          <pc:sldMk cId="453140699" sldId="2147482035"/>
        </pc:sldMkLst>
      </pc:sldChg>
      <pc:sldChg chg="addSp modSp add">
        <pc:chgData name="Kennie Pontoppidan" userId="0b66d239-c77c-454e-82ce-695a270d63fb" providerId="ADAL" clId="{514CB770-510F-4C4F-9F11-E7EF41B855AA}" dt="2025-03-31T23:38:51.969" v="446"/>
        <pc:sldMkLst>
          <pc:docMk/>
          <pc:sldMk cId="679275941" sldId="2147482037"/>
        </pc:sldMkLst>
      </pc:sldChg>
      <pc:sldChg chg="addSp modSp add">
        <pc:chgData name="Kennie Pontoppidan" userId="0b66d239-c77c-454e-82ce-695a270d63fb" providerId="ADAL" clId="{514CB770-510F-4C4F-9F11-E7EF41B855AA}" dt="2025-03-31T23:38:48.892" v="444"/>
        <pc:sldMkLst>
          <pc:docMk/>
          <pc:sldMk cId="2326236298" sldId="2147482038"/>
        </pc:sldMkLst>
      </pc:sldChg>
      <pc:sldChg chg="add">
        <pc:chgData name="Kennie Pontoppidan" userId="0b66d239-c77c-454e-82ce-695a270d63fb" providerId="ADAL" clId="{514CB770-510F-4C4F-9F11-E7EF41B855AA}" dt="2025-03-31T23:26:58.747" v="342"/>
        <pc:sldMkLst>
          <pc:docMk/>
          <pc:sldMk cId="4214686854" sldId="2147482040"/>
        </pc:sldMkLst>
      </pc:sldChg>
      <pc:sldChg chg="add">
        <pc:chgData name="Kennie Pontoppidan" userId="0b66d239-c77c-454e-82ce-695a270d63fb" providerId="ADAL" clId="{514CB770-510F-4C4F-9F11-E7EF41B855AA}" dt="2025-03-31T23:26:58.747" v="342"/>
        <pc:sldMkLst>
          <pc:docMk/>
          <pc:sldMk cId="2127214722" sldId="2147482041"/>
        </pc:sldMkLst>
      </pc:sldChg>
      <pc:sldChg chg="add del">
        <pc:chgData name="Kennie Pontoppidan" userId="0b66d239-c77c-454e-82ce-695a270d63fb" providerId="ADAL" clId="{514CB770-510F-4C4F-9F11-E7EF41B855AA}" dt="2025-03-31T23:27:43.429" v="347" actId="2696"/>
        <pc:sldMkLst>
          <pc:docMk/>
          <pc:sldMk cId="3657638" sldId="2147482042"/>
        </pc:sldMkLst>
      </pc:sldChg>
      <pc:sldChg chg="add">
        <pc:chgData name="Kennie Pontoppidan" userId="0b66d239-c77c-454e-82ce-695a270d63fb" providerId="ADAL" clId="{514CB770-510F-4C4F-9F11-E7EF41B855AA}" dt="2025-03-31T23:27:59.071" v="348"/>
        <pc:sldMkLst>
          <pc:docMk/>
          <pc:sldMk cId="2731922386" sldId="2147482042"/>
        </pc:sldMkLst>
      </pc:sldChg>
      <pc:sldChg chg="add ord">
        <pc:chgData name="Kennie Pontoppidan" userId="0b66d239-c77c-454e-82ce-695a270d63fb" providerId="ADAL" clId="{514CB770-510F-4C4F-9F11-E7EF41B855AA}" dt="2025-03-31T23:27:41.067" v="346"/>
        <pc:sldMkLst>
          <pc:docMk/>
          <pc:sldMk cId="633283706" sldId="2147482043"/>
        </pc:sldMkLst>
      </pc:sldChg>
      <pc:sldChg chg="add">
        <pc:chgData name="Kennie Pontoppidan" userId="0b66d239-c77c-454e-82ce-695a270d63fb" providerId="ADAL" clId="{514CB770-510F-4C4F-9F11-E7EF41B855AA}" dt="2025-03-31T23:27:26.141" v="344"/>
        <pc:sldMkLst>
          <pc:docMk/>
          <pc:sldMk cId="4075943723" sldId="2147482044"/>
        </pc:sldMkLst>
      </pc:sldChg>
      <pc:sldChg chg="add">
        <pc:chgData name="Kennie Pontoppidan" userId="0b66d239-c77c-454e-82ce-695a270d63fb" providerId="ADAL" clId="{514CB770-510F-4C4F-9F11-E7EF41B855AA}" dt="2025-03-31T23:27:26.141" v="344"/>
        <pc:sldMkLst>
          <pc:docMk/>
          <pc:sldMk cId="696675019" sldId="2147482045"/>
        </pc:sldMkLst>
      </pc:sldChg>
      <pc:sldChg chg="add">
        <pc:chgData name="Kennie Pontoppidan" userId="0b66d239-c77c-454e-82ce-695a270d63fb" providerId="ADAL" clId="{514CB770-510F-4C4F-9F11-E7EF41B855AA}" dt="2025-03-31T23:26:28.041" v="339"/>
        <pc:sldMkLst>
          <pc:docMk/>
          <pc:sldMk cId="3510093453" sldId="2147482046"/>
        </pc:sldMkLst>
      </pc:sldChg>
      <pc:sldChg chg="addSp modSp add">
        <pc:chgData name="Kennie Pontoppidan" userId="0b66d239-c77c-454e-82ce-695a270d63fb" providerId="ADAL" clId="{514CB770-510F-4C4F-9F11-E7EF41B855AA}" dt="2025-03-31T23:39:18.693" v="455"/>
        <pc:sldMkLst>
          <pc:docMk/>
          <pc:sldMk cId="1321682794" sldId="2147482049"/>
        </pc:sldMkLst>
      </pc:sldChg>
      <pc:sldChg chg="add">
        <pc:chgData name="Kennie Pontoppidan" userId="0b66d239-c77c-454e-82ce-695a270d63fb" providerId="ADAL" clId="{514CB770-510F-4C4F-9F11-E7EF41B855AA}" dt="2025-03-31T23:24:35.733" v="306"/>
        <pc:sldMkLst>
          <pc:docMk/>
          <pc:sldMk cId="897020611" sldId="2147482112"/>
        </pc:sldMkLst>
      </pc:sldChg>
      <pc:sldChg chg="add">
        <pc:chgData name="Kennie Pontoppidan" userId="0b66d239-c77c-454e-82ce-695a270d63fb" providerId="ADAL" clId="{514CB770-510F-4C4F-9F11-E7EF41B855AA}" dt="2025-03-31T23:24:35.733" v="306"/>
        <pc:sldMkLst>
          <pc:docMk/>
          <pc:sldMk cId="210025805" sldId="2147482115"/>
        </pc:sldMkLst>
      </pc:sldChg>
      <pc:sldChg chg="add">
        <pc:chgData name="Kennie Pontoppidan" userId="0b66d239-c77c-454e-82ce-695a270d63fb" providerId="ADAL" clId="{514CB770-510F-4C4F-9F11-E7EF41B855AA}" dt="2025-03-31T23:24:35.733" v="306"/>
        <pc:sldMkLst>
          <pc:docMk/>
          <pc:sldMk cId="2198144739" sldId="2147482116"/>
        </pc:sldMkLst>
      </pc:sldChg>
      <pc:sldChg chg="add">
        <pc:chgData name="Kennie Pontoppidan" userId="0b66d239-c77c-454e-82ce-695a270d63fb" providerId="ADAL" clId="{514CB770-510F-4C4F-9F11-E7EF41B855AA}" dt="2025-03-31T23:24:35.733" v="306"/>
        <pc:sldMkLst>
          <pc:docMk/>
          <pc:sldMk cId="1391204960" sldId="2147482118"/>
        </pc:sldMkLst>
      </pc:sldChg>
      <pc:sldChg chg="add">
        <pc:chgData name="Kennie Pontoppidan" userId="0b66d239-c77c-454e-82ce-695a270d63fb" providerId="ADAL" clId="{514CB770-510F-4C4F-9F11-E7EF41B855AA}" dt="2025-03-31T23:24:35.733" v="306"/>
        <pc:sldMkLst>
          <pc:docMk/>
          <pc:sldMk cId="726889123" sldId="2147482119"/>
        </pc:sldMkLst>
      </pc:sldChg>
      <pc:sldChg chg="add">
        <pc:chgData name="Kennie Pontoppidan" userId="0b66d239-c77c-454e-82ce-695a270d63fb" providerId="ADAL" clId="{514CB770-510F-4C4F-9F11-E7EF41B855AA}" dt="2025-03-31T23:24:35.733" v="306"/>
        <pc:sldMkLst>
          <pc:docMk/>
          <pc:sldMk cId="4261374650" sldId="2147482131"/>
        </pc:sldMkLst>
      </pc:sldChg>
      <pc:sldChg chg="add">
        <pc:chgData name="Kennie Pontoppidan" userId="0b66d239-c77c-454e-82ce-695a270d63fb" providerId="ADAL" clId="{514CB770-510F-4C4F-9F11-E7EF41B855AA}" dt="2025-03-31T23:24:35.733" v="306"/>
        <pc:sldMkLst>
          <pc:docMk/>
          <pc:sldMk cId="1740815326" sldId="2147482132"/>
        </pc:sldMkLst>
      </pc:sldChg>
      <pc:sldChg chg="add">
        <pc:chgData name="Kennie Pontoppidan" userId="0b66d239-c77c-454e-82ce-695a270d63fb" providerId="ADAL" clId="{514CB770-510F-4C4F-9F11-E7EF41B855AA}" dt="2025-03-31T23:24:35.733" v="306"/>
        <pc:sldMkLst>
          <pc:docMk/>
          <pc:sldMk cId="220933236" sldId="2147482133"/>
        </pc:sldMkLst>
      </pc:sldChg>
      <pc:sldChg chg="add">
        <pc:chgData name="Kennie Pontoppidan" userId="0b66d239-c77c-454e-82ce-695a270d63fb" providerId="ADAL" clId="{514CB770-510F-4C4F-9F11-E7EF41B855AA}" dt="2025-03-31T23:24:35.733" v="306"/>
        <pc:sldMkLst>
          <pc:docMk/>
          <pc:sldMk cId="2478022313" sldId="2147482134"/>
        </pc:sldMkLst>
      </pc:sldChg>
      <pc:sldChg chg="add">
        <pc:chgData name="Kennie Pontoppidan" userId="0b66d239-c77c-454e-82ce-695a270d63fb" providerId="ADAL" clId="{514CB770-510F-4C4F-9F11-E7EF41B855AA}" dt="2025-03-31T23:24:35.733" v="306"/>
        <pc:sldMkLst>
          <pc:docMk/>
          <pc:sldMk cId="1779719980" sldId="2147482135"/>
        </pc:sldMkLst>
      </pc:sldChg>
      <pc:sldChg chg="add">
        <pc:chgData name="Kennie Pontoppidan" userId="0b66d239-c77c-454e-82ce-695a270d63fb" providerId="ADAL" clId="{514CB770-510F-4C4F-9F11-E7EF41B855AA}" dt="2025-03-31T23:32:52.908" v="404"/>
        <pc:sldMkLst>
          <pc:docMk/>
          <pc:sldMk cId="3711225225" sldId="2147482199"/>
        </pc:sldMkLst>
      </pc:sldChg>
      <pc:sldChg chg="add">
        <pc:chgData name="Kennie Pontoppidan" userId="0b66d239-c77c-454e-82ce-695a270d63fb" providerId="ADAL" clId="{514CB770-510F-4C4F-9F11-E7EF41B855AA}" dt="2025-03-31T23:33:21.356" v="406"/>
        <pc:sldMkLst>
          <pc:docMk/>
          <pc:sldMk cId="2707725603" sldId="2147482204"/>
        </pc:sldMkLst>
      </pc:sldChg>
      <pc:sldChg chg="add">
        <pc:chgData name="Kennie Pontoppidan" userId="0b66d239-c77c-454e-82ce-695a270d63fb" providerId="ADAL" clId="{514CB770-510F-4C4F-9F11-E7EF41B855AA}" dt="2025-03-31T23:32:04.108" v="401"/>
        <pc:sldMkLst>
          <pc:docMk/>
          <pc:sldMk cId="3568551415" sldId="2147482206"/>
        </pc:sldMkLst>
      </pc:sldChg>
      <pc:sldChg chg="add">
        <pc:chgData name="Kennie Pontoppidan" userId="0b66d239-c77c-454e-82ce-695a270d63fb" providerId="ADAL" clId="{514CB770-510F-4C4F-9F11-E7EF41B855AA}" dt="2025-03-31T23:32:25.686" v="403"/>
        <pc:sldMkLst>
          <pc:docMk/>
          <pc:sldMk cId="2997209873" sldId="2147482207"/>
        </pc:sldMkLst>
      </pc:sldChg>
      <pc:sldChg chg="add">
        <pc:chgData name="Kennie Pontoppidan" userId="0b66d239-c77c-454e-82ce-695a270d63fb" providerId="ADAL" clId="{514CB770-510F-4C4F-9F11-E7EF41B855AA}" dt="2025-03-31T23:32:15.747" v="402"/>
        <pc:sldMkLst>
          <pc:docMk/>
          <pc:sldMk cId="1258170539" sldId="2147482208"/>
        </pc:sldMkLst>
      </pc:sldChg>
      <pc:sldChg chg="del">
        <pc:chgData name="Kennie Pontoppidan" userId="0b66d239-c77c-454e-82ce-695a270d63fb" providerId="ADAL" clId="{514CB770-510F-4C4F-9F11-E7EF41B855AA}" dt="2025-03-31T23:01:12.188" v="53" actId="18676"/>
        <pc:sldMkLst>
          <pc:docMk/>
          <pc:sldMk cId="1702333183" sldId="2147482256"/>
        </pc:sldMkLst>
      </pc:sldChg>
      <pc:sldChg chg="modSp mod">
        <pc:chgData name="Kennie Pontoppidan" userId="0b66d239-c77c-454e-82ce-695a270d63fb" providerId="ADAL" clId="{514CB770-510F-4C4F-9F11-E7EF41B855AA}" dt="2025-03-31T23:20:47.690" v="291" actId="13926"/>
        <pc:sldMkLst>
          <pc:docMk/>
          <pc:sldMk cId="2058650604" sldId="2147483533"/>
        </pc:sldMkLst>
        <pc:spChg chg="mod">
          <ac:chgData name="Kennie Pontoppidan" userId="0b66d239-c77c-454e-82ce-695a270d63fb" providerId="ADAL" clId="{514CB770-510F-4C4F-9F11-E7EF41B855AA}" dt="2025-03-31T23:20:47.690" v="291" actId="13926"/>
          <ac:spMkLst>
            <pc:docMk/>
            <pc:sldMk cId="2058650604" sldId="2147483533"/>
            <ac:spMk id="16" creationId="{903885EA-47BC-B2E0-7B00-E05693E76639}"/>
          </ac:spMkLst>
        </pc:spChg>
      </pc:sldChg>
      <pc:sldChg chg="del">
        <pc:chgData name="Kennie Pontoppidan" userId="0b66d239-c77c-454e-82ce-695a270d63fb" providerId="ADAL" clId="{514CB770-510F-4C4F-9F11-E7EF41B855AA}" dt="2025-03-31T23:15:30.876" v="56" actId="47"/>
        <pc:sldMkLst>
          <pc:docMk/>
          <pc:sldMk cId="3533999625" sldId="2147483584"/>
        </pc:sldMkLst>
      </pc:sldChg>
      <pc:sldChg chg="modSp add mod setBg">
        <pc:chgData name="Kennie Pontoppidan" userId="0b66d239-c77c-454e-82ce-695a270d63fb" providerId="ADAL" clId="{514CB770-510F-4C4F-9F11-E7EF41B855AA}" dt="2025-03-31T23:19:54.125" v="290" actId="14100"/>
        <pc:sldMkLst>
          <pc:docMk/>
          <pc:sldMk cId="3478658490" sldId="2147483586"/>
        </pc:sldMkLst>
        <pc:spChg chg="mod">
          <ac:chgData name="Kennie Pontoppidan" userId="0b66d239-c77c-454e-82ce-695a270d63fb" providerId="ADAL" clId="{514CB770-510F-4C4F-9F11-E7EF41B855AA}" dt="2025-03-31T23:19:54.125" v="290" actId="14100"/>
          <ac:spMkLst>
            <pc:docMk/>
            <pc:sldMk cId="3478658490" sldId="2147483586"/>
            <ac:spMk id="25" creationId="{FF1232C1-4540-D849-A825-E218E14A119A}"/>
          </ac:spMkLst>
        </pc:spChg>
        <pc:spChg chg="mod">
          <ac:chgData name="Kennie Pontoppidan" userId="0b66d239-c77c-454e-82ce-695a270d63fb" providerId="ADAL" clId="{514CB770-510F-4C4F-9F11-E7EF41B855AA}" dt="2025-03-31T23:16:26.666" v="91" actId="114"/>
          <ac:spMkLst>
            <pc:docMk/>
            <pc:sldMk cId="3478658490" sldId="2147483586"/>
            <ac:spMk id="33" creationId="{2873F58A-4AA6-624A-2A83-4B541A005A26}"/>
          </ac:spMkLst>
        </pc:spChg>
        <pc:spChg chg="mod">
          <ac:chgData name="Kennie Pontoppidan" userId="0b66d239-c77c-454e-82ce-695a270d63fb" providerId="ADAL" clId="{514CB770-510F-4C4F-9F11-E7EF41B855AA}" dt="2025-03-31T23:18:32.307" v="202" actId="20577"/>
          <ac:spMkLst>
            <pc:docMk/>
            <pc:sldMk cId="3478658490" sldId="2147483586"/>
            <ac:spMk id="77" creationId="{73C73CCB-BE8C-BC74-81C1-824768B7F719}"/>
          </ac:spMkLst>
        </pc:spChg>
        <pc:spChg chg="mod">
          <ac:chgData name="Kennie Pontoppidan" userId="0b66d239-c77c-454e-82ce-695a270d63fb" providerId="ADAL" clId="{514CB770-510F-4C4F-9F11-E7EF41B855AA}" dt="2025-03-31T23:17:48.753" v="179" actId="20577"/>
          <ac:spMkLst>
            <pc:docMk/>
            <pc:sldMk cId="3478658490" sldId="2147483586"/>
            <ac:spMk id="78" creationId="{B0535C01-1722-17CC-52C4-07B81C476367}"/>
          </ac:spMkLst>
        </pc:spChg>
        <pc:spChg chg="mod">
          <ac:chgData name="Kennie Pontoppidan" userId="0b66d239-c77c-454e-82ce-695a270d63fb" providerId="ADAL" clId="{514CB770-510F-4C4F-9F11-E7EF41B855AA}" dt="2025-03-31T23:17:27.446" v="167" actId="20577"/>
          <ac:spMkLst>
            <pc:docMk/>
            <pc:sldMk cId="3478658490" sldId="2147483586"/>
            <ac:spMk id="79" creationId="{1918183D-0765-83BB-9700-32163A6A1171}"/>
          </ac:spMkLst>
        </pc:spChg>
        <pc:spChg chg="mod">
          <ac:chgData name="Kennie Pontoppidan" userId="0b66d239-c77c-454e-82ce-695a270d63fb" providerId="ADAL" clId="{514CB770-510F-4C4F-9F11-E7EF41B855AA}" dt="2025-03-31T23:17:18.839" v="141" actId="20577"/>
          <ac:spMkLst>
            <pc:docMk/>
            <pc:sldMk cId="3478658490" sldId="2147483586"/>
            <ac:spMk id="80" creationId="{74664C4A-2C7B-D8C2-67A8-1A0DEDA088B3}"/>
          </ac:spMkLst>
        </pc:spChg>
        <pc:spChg chg="mod">
          <ac:chgData name="Kennie Pontoppidan" userId="0b66d239-c77c-454e-82ce-695a270d63fb" providerId="ADAL" clId="{514CB770-510F-4C4F-9F11-E7EF41B855AA}" dt="2025-03-31T23:16:52.729" v="122" actId="20577"/>
          <ac:spMkLst>
            <pc:docMk/>
            <pc:sldMk cId="3478658490" sldId="2147483586"/>
            <ac:spMk id="81" creationId="{5781394B-65FE-1821-46B6-161F42439615}"/>
          </ac:spMkLst>
        </pc:spChg>
        <pc:spChg chg="mod">
          <ac:chgData name="Kennie Pontoppidan" userId="0b66d239-c77c-454e-82ce-695a270d63fb" providerId="ADAL" clId="{514CB770-510F-4C4F-9F11-E7EF41B855AA}" dt="2025-03-31T23:17:07.189" v="133" actId="20577"/>
          <ac:spMkLst>
            <pc:docMk/>
            <pc:sldMk cId="3478658490" sldId="2147483586"/>
            <ac:spMk id="82" creationId="{9C00D077-9234-412C-3D35-62BC1A8AF094}"/>
          </ac:spMkLst>
        </pc:spChg>
        <pc:spChg chg="mod">
          <ac:chgData name="Kennie Pontoppidan" userId="0b66d239-c77c-454e-82ce-695a270d63fb" providerId="ADAL" clId="{514CB770-510F-4C4F-9F11-E7EF41B855AA}" dt="2025-03-31T23:19:16.162" v="273" actId="20577"/>
          <ac:spMkLst>
            <pc:docMk/>
            <pc:sldMk cId="3478658490" sldId="2147483586"/>
            <ac:spMk id="83" creationId="{8353B716-712C-AD76-8824-0F787270133D}"/>
          </ac:spMkLst>
        </pc:spChg>
        <pc:spChg chg="mod">
          <ac:chgData name="Kennie Pontoppidan" userId="0b66d239-c77c-454e-82ce-695a270d63fb" providerId="ADAL" clId="{514CB770-510F-4C4F-9F11-E7EF41B855AA}" dt="2025-03-31T23:19:25.416" v="288" actId="20577"/>
          <ac:spMkLst>
            <pc:docMk/>
            <pc:sldMk cId="3478658490" sldId="2147483586"/>
            <ac:spMk id="84" creationId="{801A9B09-8362-4ADF-09C0-62A96FB63225}"/>
          </ac:spMkLst>
        </pc:spChg>
        <pc:spChg chg="mod">
          <ac:chgData name="Kennie Pontoppidan" userId="0b66d239-c77c-454e-82ce-695a270d63fb" providerId="ADAL" clId="{514CB770-510F-4C4F-9F11-E7EF41B855AA}" dt="2025-03-31T23:18:28.303" v="197" actId="6549"/>
          <ac:spMkLst>
            <pc:docMk/>
            <pc:sldMk cId="3478658490" sldId="2147483586"/>
            <ac:spMk id="85" creationId="{F1A5964F-03C7-1D4A-FFFD-0468366B7279}"/>
          </ac:spMkLst>
        </pc:spChg>
        <pc:spChg chg="mod">
          <ac:chgData name="Kennie Pontoppidan" userId="0b66d239-c77c-454e-82ce-695a270d63fb" providerId="ADAL" clId="{514CB770-510F-4C4F-9F11-E7EF41B855AA}" dt="2025-03-31T23:18:17.171" v="187" actId="20577"/>
          <ac:spMkLst>
            <pc:docMk/>
            <pc:sldMk cId="3478658490" sldId="2147483586"/>
            <ac:spMk id="86" creationId="{7176BEA6-A200-545F-5030-714CF87CD056}"/>
          </ac:spMkLst>
        </pc:spChg>
        <pc:spChg chg="mod">
          <ac:chgData name="Kennie Pontoppidan" userId="0b66d239-c77c-454e-82ce-695a270d63fb" providerId="ADAL" clId="{514CB770-510F-4C4F-9F11-E7EF41B855AA}" dt="2025-03-31T23:18:47.069" v="225" actId="20577"/>
          <ac:spMkLst>
            <pc:docMk/>
            <pc:sldMk cId="3478658490" sldId="2147483586"/>
            <ac:spMk id="87" creationId="{B31C997C-F0AB-3148-397C-7D98305CC7CF}"/>
          </ac:spMkLst>
        </pc:spChg>
        <pc:spChg chg="mod">
          <ac:chgData name="Kennie Pontoppidan" userId="0b66d239-c77c-454e-82ce-695a270d63fb" providerId="ADAL" clId="{514CB770-510F-4C4F-9F11-E7EF41B855AA}" dt="2025-03-31T23:19:01.736" v="248" actId="20577"/>
          <ac:spMkLst>
            <pc:docMk/>
            <pc:sldMk cId="3478658490" sldId="2147483586"/>
            <ac:spMk id="88" creationId="{253F49EF-B4FC-C848-4960-5F0EDA878E9E}"/>
          </ac:spMkLst>
        </pc:spChg>
      </pc:sldChg>
      <pc:sldChg chg="addSp delSp modSp new mod chgLayout">
        <pc:chgData name="Kennie Pontoppidan" userId="0b66d239-c77c-454e-82ce-695a270d63fb" providerId="ADAL" clId="{514CB770-510F-4C4F-9F11-E7EF41B855AA}" dt="2025-03-31T23:26:37.979" v="341" actId="6549"/>
        <pc:sldMkLst>
          <pc:docMk/>
          <pc:sldMk cId="372549983" sldId="2147483587"/>
        </pc:sldMkLst>
      </pc:sldChg>
      <pc:sldChg chg="del">
        <pc:chgData name="Kennie Pontoppidan" userId="0b66d239-c77c-454e-82ce-695a270d63fb" providerId="ADAL" clId="{514CB770-510F-4C4F-9F11-E7EF41B855AA}" dt="2025-03-31T23:15:49.030" v="57" actId="18676"/>
        <pc:sldMkLst>
          <pc:docMk/>
          <pc:sldMk cId="758100845" sldId="2147483587"/>
        </pc:sldMkLst>
      </pc:sldChg>
      <pc:sldChg chg="modSp add mod">
        <pc:chgData name="Kennie Pontoppidan" userId="0b66d239-c77c-454e-82ce-695a270d63fb" providerId="ADAL" clId="{514CB770-510F-4C4F-9F11-E7EF41B855AA}" dt="2025-03-31T23:21:36.808" v="298"/>
        <pc:sldMkLst>
          <pc:docMk/>
          <pc:sldMk cId="3826172643" sldId="2147483588"/>
        </pc:sldMkLst>
      </pc:sldChg>
      <pc:sldChg chg="modSp add mod">
        <pc:chgData name="Kennie Pontoppidan" userId="0b66d239-c77c-454e-82ce-695a270d63fb" providerId="ADAL" clId="{514CB770-510F-4C4F-9F11-E7EF41B855AA}" dt="2025-03-31T23:21:47.334" v="299"/>
        <pc:sldMkLst>
          <pc:docMk/>
          <pc:sldMk cId="75229804" sldId="2147483589"/>
        </pc:sldMkLst>
      </pc:sldChg>
      <pc:sldChg chg="modSp add mod">
        <pc:chgData name="Kennie Pontoppidan" userId="0b66d239-c77c-454e-82ce-695a270d63fb" providerId="ADAL" clId="{514CB770-510F-4C4F-9F11-E7EF41B855AA}" dt="2025-03-31T23:29:29.947" v="393"/>
        <pc:sldMkLst>
          <pc:docMk/>
          <pc:sldMk cId="2005200054" sldId="2147483590"/>
        </pc:sldMkLst>
      </pc:sldChg>
      <pc:sldChg chg="modSp add mod">
        <pc:chgData name="Kennie Pontoppidan" userId="0b66d239-c77c-454e-82ce-695a270d63fb" providerId="ADAL" clId="{514CB770-510F-4C4F-9F11-E7EF41B855AA}" dt="2025-03-31T23:24:58.047" v="337" actId="20577"/>
        <pc:sldMkLst>
          <pc:docMk/>
          <pc:sldMk cId="3052373026" sldId="2147483591"/>
        </pc:sldMkLst>
      </pc:sldChg>
      <pc:sldChg chg="add">
        <pc:chgData name="Kennie Pontoppidan" userId="0b66d239-c77c-454e-82ce-695a270d63fb" providerId="ADAL" clId="{514CB770-510F-4C4F-9F11-E7EF41B855AA}" dt="2025-03-31T23:30:41.310" v="398"/>
        <pc:sldMkLst>
          <pc:docMk/>
          <pc:sldMk cId="1429556087" sldId="2147483592"/>
        </pc:sldMkLst>
      </pc:sldChg>
      <pc:sldChg chg="add del">
        <pc:chgData name="Kennie Pontoppidan" userId="0b66d239-c77c-454e-82ce-695a270d63fb" providerId="ADAL" clId="{514CB770-510F-4C4F-9F11-E7EF41B855AA}" dt="2025-03-31T23:34:39.548" v="408"/>
        <pc:sldMkLst>
          <pc:docMk/>
          <pc:sldMk cId="1517839747" sldId="2147483593"/>
        </pc:sldMkLst>
      </pc:sldChg>
      <pc:sldChg chg="addSp modSp add">
        <pc:chgData name="Kennie Pontoppidan" userId="0b66d239-c77c-454e-82ce-695a270d63fb" providerId="ADAL" clId="{514CB770-510F-4C4F-9F11-E7EF41B855AA}" dt="2025-03-31T23:38:38.402" v="440"/>
        <pc:sldMkLst>
          <pc:docMk/>
          <pc:sldMk cId="3545592240" sldId="2147483593"/>
        </pc:sldMkLst>
      </pc:sldChg>
      <pc:sldMasterChg chg="delSldLayout">
        <pc:chgData name="Kennie Pontoppidan" userId="0b66d239-c77c-454e-82ce-695a270d63fb" providerId="ADAL" clId="{514CB770-510F-4C4F-9F11-E7EF41B855AA}" dt="2025-03-31T23:01:12.188" v="53" actId="18676"/>
        <pc:sldMasterMkLst>
          <pc:docMk/>
          <pc:sldMasterMk cId="3588427678" sldId="2147484229"/>
        </pc:sldMasterMkLst>
        <pc:sldLayoutChg chg="del">
          <pc:chgData name="Kennie Pontoppidan" userId="0b66d239-c77c-454e-82ce-695a270d63fb" providerId="ADAL" clId="{514CB770-510F-4C4F-9F11-E7EF41B855AA}" dt="2025-03-31T23:01:12.188" v="53" actId="18676"/>
          <pc:sldLayoutMkLst>
            <pc:docMk/>
            <pc:sldMasterMk cId="3588427678" sldId="2147484229"/>
            <pc:sldLayoutMk cId="3868213402" sldId="2147485528"/>
          </pc:sldLayoutMkLst>
        </pc:sldLayoutChg>
      </pc:sldMasterChg>
    </pc:docChg>
  </pc:docChgLst>
  <pc:docChgLst>
    <pc:chgData name="Jennifer Dorsey" userId="cb52d225-9ade-4c3c-800b-15ea31a242d9" providerId="ADAL" clId="{453132A3-8C6F-4D02-90E9-38E7F288A71F}"/>
    <pc:docChg chg="undo custSel addSld delSld modSld sldOrd modSection">
      <pc:chgData name="Jennifer Dorsey" userId="cb52d225-9ade-4c3c-800b-15ea31a242d9" providerId="ADAL" clId="{453132A3-8C6F-4D02-90E9-38E7F288A71F}" dt="2025-03-17T22:39:44.033" v="3105" actId="20577"/>
      <pc:docMkLst>
        <pc:docMk/>
      </pc:docMkLst>
      <pc:sldChg chg="addSp modSp add mod ord">
        <pc:chgData name="Jennifer Dorsey" userId="cb52d225-9ade-4c3c-800b-15ea31a242d9" providerId="ADAL" clId="{453132A3-8C6F-4D02-90E9-38E7F288A71F}" dt="2025-03-17T22:09:57.699" v="2632"/>
        <pc:sldMkLst>
          <pc:docMk/>
          <pc:sldMk cId="3185762195" sldId="261"/>
        </pc:sldMkLst>
      </pc:sldChg>
      <pc:sldChg chg="addSp modSp add mod">
        <pc:chgData name="Jennifer Dorsey" userId="cb52d225-9ade-4c3c-800b-15ea31a242d9" providerId="ADAL" clId="{453132A3-8C6F-4D02-90E9-38E7F288A71F}" dt="2025-03-17T22:13:16.047" v="2664" actId="20577"/>
        <pc:sldMkLst>
          <pc:docMk/>
          <pc:sldMk cId="1987420379" sldId="269"/>
        </pc:sldMkLst>
      </pc:sldChg>
      <pc:sldChg chg="del">
        <pc:chgData name="Jennifer Dorsey" userId="cb52d225-9ade-4c3c-800b-15ea31a242d9" providerId="ADAL" clId="{453132A3-8C6F-4D02-90E9-38E7F288A71F}" dt="2025-03-17T22:20:59.887" v="2727" actId="47"/>
        <pc:sldMkLst>
          <pc:docMk/>
          <pc:sldMk cId="3210331491" sldId="2076138002"/>
        </pc:sldMkLst>
      </pc:sldChg>
      <pc:sldChg chg="del">
        <pc:chgData name="Jennifer Dorsey" userId="cb52d225-9ade-4c3c-800b-15ea31a242d9" providerId="ADAL" clId="{453132A3-8C6F-4D02-90E9-38E7F288A71F}" dt="2025-03-17T20:45:33.480" v="53" actId="47"/>
        <pc:sldMkLst>
          <pc:docMk/>
          <pc:sldMk cId="2669305560" sldId="2076138207"/>
        </pc:sldMkLst>
      </pc:sldChg>
      <pc:sldChg chg="del">
        <pc:chgData name="Jennifer Dorsey" userId="cb52d225-9ade-4c3c-800b-15ea31a242d9" providerId="ADAL" clId="{453132A3-8C6F-4D02-90E9-38E7F288A71F}" dt="2025-03-17T22:20:06.943" v="2723" actId="47"/>
        <pc:sldMkLst>
          <pc:docMk/>
          <pc:sldMk cId="2548789604" sldId="2076138215"/>
        </pc:sldMkLst>
      </pc:sldChg>
      <pc:sldChg chg="modSp mod">
        <pc:chgData name="Jennifer Dorsey" userId="cb52d225-9ade-4c3c-800b-15ea31a242d9" providerId="ADAL" clId="{453132A3-8C6F-4D02-90E9-38E7F288A71F}" dt="2025-03-17T22:38:51.409" v="3102" actId="1076"/>
        <pc:sldMkLst>
          <pc:docMk/>
          <pc:sldMk cId="426918691" sldId="2076138216"/>
        </pc:sldMkLst>
        <pc:spChg chg="mod">
          <ac:chgData name="Jennifer Dorsey" userId="cb52d225-9ade-4c3c-800b-15ea31a242d9" providerId="ADAL" clId="{453132A3-8C6F-4D02-90E9-38E7F288A71F}" dt="2025-03-17T22:38:51.409" v="3102" actId="1076"/>
          <ac:spMkLst>
            <pc:docMk/>
            <pc:sldMk cId="426918691" sldId="2076138216"/>
            <ac:spMk id="6" creationId="{460D15DF-EF97-44E8-BCDF-D3F111A97291}"/>
          </ac:spMkLst>
        </pc:spChg>
      </pc:sldChg>
      <pc:sldChg chg="del">
        <pc:chgData name="Jennifer Dorsey" userId="cb52d225-9ade-4c3c-800b-15ea31a242d9" providerId="ADAL" clId="{453132A3-8C6F-4D02-90E9-38E7F288A71F}" dt="2025-03-17T20:45:36.568" v="54" actId="47"/>
        <pc:sldMkLst>
          <pc:docMk/>
          <pc:sldMk cId="471867069" sldId="2076138237"/>
        </pc:sldMkLst>
      </pc:sldChg>
      <pc:sldChg chg="del">
        <pc:chgData name="Jennifer Dorsey" userId="cb52d225-9ade-4c3c-800b-15ea31a242d9" providerId="ADAL" clId="{453132A3-8C6F-4D02-90E9-38E7F288A71F}" dt="2025-03-17T20:45:29.429" v="52" actId="47"/>
        <pc:sldMkLst>
          <pc:docMk/>
          <pc:sldMk cId="3305917143" sldId="2076138251"/>
        </pc:sldMkLst>
      </pc:sldChg>
      <pc:sldChg chg="modSp mod">
        <pc:chgData name="Jennifer Dorsey" userId="cb52d225-9ade-4c3c-800b-15ea31a242d9" providerId="ADAL" clId="{453132A3-8C6F-4D02-90E9-38E7F288A71F}" dt="2025-03-17T20:45:18.718" v="51" actId="20577"/>
        <pc:sldMkLst>
          <pc:docMk/>
          <pc:sldMk cId="2501024343" sldId="2076138253"/>
        </pc:sldMkLst>
        <pc:spChg chg="mod">
          <ac:chgData name="Jennifer Dorsey" userId="cb52d225-9ade-4c3c-800b-15ea31a242d9" providerId="ADAL" clId="{453132A3-8C6F-4D02-90E9-38E7F288A71F}" dt="2025-03-17T20:45:18.718" v="51" actId="20577"/>
          <ac:spMkLst>
            <pc:docMk/>
            <pc:sldMk cId="2501024343" sldId="2076138253"/>
            <ac:spMk id="5" creationId="{00000000-0000-0000-0000-000000000000}"/>
          </ac:spMkLst>
        </pc:spChg>
        <pc:spChg chg="mod">
          <ac:chgData name="Jennifer Dorsey" userId="cb52d225-9ade-4c3c-800b-15ea31a242d9" providerId="ADAL" clId="{453132A3-8C6F-4D02-90E9-38E7F288A71F}" dt="2025-03-17T20:41:32.256" v="3"/>
          <ac:spMkLst>
            <pc:docMk/>
            <pc:sldMk cId="2501024343" sldId="2076138253"/>
            <ac:spMk id="7" creationId="{9B99A9B6-3F8A-938D-7CA2-A3101C08D350}"/>
          </ac:spMkLst>
        </pc:spChg>
      </pc:sldChg>
      <pc:sldChg chg="add del">
        <pc:chgData name="Jennifer Dorsey" userId="cb52d225-9ade-4c3c-800b-15ea31a242d9" providerId="ADAL" clId="{453132A3-8C6F-4D02-90E9-38E7F288A71F}" dt="2025-03-17T22:20:02.708" v="2722" actId="47"/>
        <pc:sldMkLst>
          <pc:docMk/>
          <pc:sldMk cId="1125212157" sldId="2147481813"/>
        </pc:sldMkLst>
      </pc:sldChg>
      <pc:sldChg chg="addSp modSp add del mod">
        <pc:chgData name="Jennifer Dorsey" userId="cb52d225-9ade-4c3c-800b-15ea31a242d9" providerId="ADAL" clId="{453132A3-8C6F-4D02-90E9-38E7F288A71F}" dt="2025-03-17T22:13:59.439" v="2673" actId="20577"/>
        <pc:sldMkLst>
          <pc:docMk/>
          <pc:sldMk cId="4035934866" sldId="2147481828"/>
        </pc:sldMkLst>
      </pc:sldChg>
      <pc:sldChg chg="addSp modSp add del mod setBg">
        <pc:chgData name="Jennifer Dorsey" userId="cb52d225-9ade-4c3c-800b-15ea31a242d9" providerId="ADAL" clId="{453132A3-8C6F-4D02-90E9-38E7F288A71F}" dt="2025-03-17T20:58:18.815" v="613" actId="20577"/>
        <pc:sldMkLst>
          <pc:docMk/>
          <pc:sldMk cId="1971722357" sldId="2147481841"/>
        </pc:sldMkLst>
      </pc:sldChg>
      <pc:sldChg chg="add del setBg">
        <pc:chgData name="Jennifer Dorsey" userId="cb52d225-9ade-4c3c-800b-15ea31a242d9" providerId="ADAL" clId="{453132A3-8C6F-4D02-90E9-38E7F288A71F}" dt="2025-03-17T22:19:38.263" v="2719" actId="47"/>
        <pc:sldMkLst>
          <pc:docMk/>
          <pc:sldMk cId="898370894" sldId="2147481980"/>
        </pc:sldMkLst>
      </pc:sldChg>
      <pc:sldChg chg="add del ord">
        <pc:chgData name="Jennifer Dorsey" userId="cb52d225-9ade-4c3c-800b-15ea31a242d9" providerId="ADAL" clId="{453132A3-8C6F-4D02-90E9-38E7F288A71F}" dt="2025-03-17T21:13:05.144" v="923"/>
        <pc:sldMkLst>
          <pc:docMk/>
          <pc:sldMk cId="1400218902" sldId="2147482223"/>
        </pc:sldMkLst>
      </pc:sldChg>
      <pc:sldChg chg="addSp delSp modSp add del mod modCm">
        <pc:chgData name="Jennifer Dorsey" userId="cb52d225-9ade-4c3c-800b-15ea31a242d9" providerId="ADAL" clId="{453132A3-8C6F-4D02-90E9-38E7F288A71F}" dt="2025-03-17T22:39:44.033" v="3105" actId="20577"/>
        <pc:sldMkLst>
          <pc:docMk/>
          <pc:sldMk cId="1501762718" sldId="2147482227"/>
        </pc:sldMkLst>
        <pc:extLst>
          <p:ext xmlns:p="http://schemas.openxmlformats.org/presentationml/2006/main" uri="{D6D511B9-2390-475A-947B-AFAB55BFBCF1}">
            <pc226:cmChg xmlns:pc226="http://schemas.microsoft.com/office/powerpoint/2022/06/main/command" chg="mod">
              <pc226:chgData name="Jennifer Dorsey" userId="cb52d225-9ade-4c3c-800b-15ea31a242d9" providerId="ADAL" clId="{453132A3-8C6F-4D02-90E9-38E7F288A71F}" dt="2025-03-17T21:11:26.350" v="915" actId="20577"/>
              <pc2:cmMkLst xmlns:pc2="http://schemas.microsoft.com/office/powerpoint/2019/9/main/command">
                <pc:docMk/>
                <pc:sldMk cId="1501762718" sldId="2147482227"/>
                <pc2:cmMk id="{333CE7E4-E7FB-4364-AC82-E31B023E606A}"/>
              </pc2:cmMkLst>
            </pc226:cmChg>
          </p:ext>
        </pc:extLst>
      </pc:sldChg>
      <pc:sldChg chg="modSp add del mod ord">
        <pc:chgData name="Jennifer Dorsey" userId="cb52d225-9ade-4c3c-800b-15ea31a242d9" providerId="ADAL" clId="{453132A3-8C6F-4D02-90E9-38E7F288A71F}" dt="2025-03-17T22:36:41.382" v="3022" actId="1038"/>
        <pc:sldMkLst>
          <pc:docMk/>
          <pc:sldMk cId="2910222777" sldId="2147482231"/>
        </pc:sldMkLst>
      </pc:sldChg>
      <pc:sldChg chg="add del ord">
        <pc:chgData name="Jennifer Dorsey" userId="cb52d225-9ade-4c3c-800b-15ea31a242d9" providerId="ADAL" clId="{453132A3-8C6F-4D02-90E9-38E7F288A71F}" dt="2025-03-17T22:19:44.494" v="2721"/>
        <pc:sldMkLst>
          <pc:docMk/>
          <pc:sldMk cId="3781149786" sldId="2147482242"/>
        </pc:sldMkLst>
      </pc:sldChg>
      <pc:sldChg chg="add del">
        <pc:chgData name="Jennifer Dorsey" userId="cb52d225-9ade-4c3c-800b-15ea31a242d9" providerId="ADAL" clId="{453132A3-8C6F-4D02-90E9-38E7F288A71F}" dt="2025-03-17T21:13:20.975" v="926" actId="47"/>
        <pc:sldMkLst>
          <pc:docMk/>
          <pc:sldMk cId="873907081" sldId="2147482248"/>
        </pc:sldMkLst>
      </pc:sldChg>
      <pc:sldChg chg="add del">
        <pc:chgData name="Jennifer Dorsey" userId="cb52d225-9ade-4c3c-800b-15ea31a242d9" providerId="ADAL" clId="{453132A3-8C6F-4D02-90E9-38E7F288A71F}" dt="2025-03-17T22:13:19.675" v="2665" actId="47"/>
        <pc:sldMkLst>
          <pc:docMk/>
          <pc:sldMk cId="3377851660" sldId="2147482249"/>
        </pc:sldMkLst>
      </pc:sldChg>
      <pc:sldChg chg="add del">
        <pc:chgData name="Jennifer Dorsey" userId="cb52d225-9ade-4c3c-800b-15ea31a242d9" providerId="ADAL" clId="{453132A3-8C6F-4D02-90E9-38E7F288A71F}" dt="2025-03-17T21:13:13.788" v="924" actId="47"/>
        <pc:sldMkLst>
          <pc:docMk/>
          <pc:sldMk cId="1707673566" sldId="2147482250"/>
        </pc:sldMkLst>
      </pc:sldChg>
      <pc:sldChg chg="addSp delSp modSp add del mod">
        <pc:chgData name="Jennifer Dorsey" userId="cb52d225-9ade-4c3c-800b-15ea31a242d9" providerId="ADAL" clId="{453132A3-8C6F-4D02-90E9-38E7F288A71F}" dt="2025-03-17T22:06:14.475" v="2621" actId="13926"/>
        <pc:sldMkLst>
          <pc:docMk/>
          <pc:sldMk cId="2963733053" sldId="2147482251"/>
        </pc:sldMkLst>
      </pc:sldChg>
      <pc:sldChg chg="add del">
        <pc:chgData name="Jennifer Dorsey" userId="cb52d225-9ade-4c3c-800b-15ea31a242d9" providerId="ADAL" clId="{453132A3-8C6F-4D02-90E9-38E7F288A71F}" dt="2025-03-17T20:40:54.301" v="2"/>
        <pc:sldMkLst>
          <pc:docMk/>
          <pc:sldMk cId="3322670398" sldId="2147482252"/>
        </pc:sldMkLst>
      </pc:sldChg>
      <pc:sldChg chg="add del">
        <pc:chgData name="Jennifer Dorsey" userId="cb52d225-9ade-4c3c-800b-15ea31a242d9" providerId="ADAL" clId="{453132A3-8C6F-4D02-90E9-38E7F288A71F}" dt="2025-03-17T20:40:54.301" v="2"/>
        <pc:sldMkLst>
          <pc:docMk/>
          <pc:sldMk cId="873336208" sldId="2147482253"/>
        </pc:sldMkLst>
      </pc:sldChg>
      <pc:sldChg chg="add del">
        <pc:chgData name="Jennifer Dorsey" userId="cb52d225-9ade-4c3c-800b-15ea31a242d9" providerId="ADAL" clId="{453132A3-8C6F-4D02-90E9-38E7F288A71F}" dt="2025-03-17T22:13:21.518" v="2666" actId="47"/>
        <pc:sldMkLst>
          <pc:docMk/>
          <pc:sldMk cId="235025017" sldId="2147482254"/>
        </pc:sldMkLst>
      </pc:sldChg>
      <pc:sldChg chg="add del">
        <pc:chgData name="Jennifer Dorsey" userId="cb52d225-9ade-4c3c-800b-15ea31a242d9" providerId="ADAL" clId="{453132A3-8C6F-4D02-90E9-38E7F288A71F}" dt="2025-03-17T21:13:16.939" v="925" actId="47"/>
        <pc:sldMkLst>
          <pc:docMk/>
          <pc:sldMk cId="583265255" sldId="2147482255"/>
        </pc:sldMkLst>
      </pc:sldChg>
      <pc:sldChg chg="modSp add del mod">
        <pc:chgData name="Jennifer Dorsey" userId="cb52d225-9ade-4c3c-800b-15ea31a242d9" providerId="ADAL" clId="{453132A3-8C6F-4D02-90E9-38E7F288A71F}" dt="2025-03-17T20:58:34.069" v="623" actId="20577"/>
        <pc:sldMkLst>
          <pc:docMk/>
          <pc:sldMk cId="1702333183" sldId="2147482256"/>
        </pc:sldMkLst>
      </pc:sldChg>
      <pc:sldChg chg="add del setBg">
        <pc:chgData name="Jennifer Dorsey" userId="cb52d225-9ade-4c3c-800b-15ea31a242d9" providerId="ADAL" clId="{453132A3-8C6F-4D02-90E9-38E7F288A71F}" dt="2025-03-17T20:53:27.332" v="359" actId="47"/>
        <pc:sldMkLst>
          <pc:docMk/>
          <pc:sldMk cId="1250813930" sldId="2147482257"/>
        </pc:sldMkLst>
      </pc:sldChg>
      <pc:sldChg chg="add del">
        <pc:chgData name="Jennifer Dorsey" userId="cb52d225-9ade-4c3c-800b-15ea31a242d9" providerId="ADAL" clId="{453132A3-8C6F-4D02-90E9-38E7F288A71F}" dt="2025-03-17T22:18:53.653" v="2718" actId="47"/>
        <pc:sldMkLst>
          <pc:docMk/>
          <pc:sldMk cId="3578979619" sldId="2147482259"/>
        </pc:sldMkLst>
      </pc:sldChg>
      <pc:sldChg chg="add del">
        <pc:chgData name="Jennifer Dorsey" userId="cb52d225-9ade-4c3c-800b-15ea31a242d9" providerId="ADAL" clId="{453132A3-8C6F-4D02-90E9-38E7F288A71F}" dt="2025-03-17T20:40:54.301" v="2"/>
        <pc:sldMkLst>
          <pc:docMk/>
          <pc:sldMk cId="1570482869" sldId="2147482260"/>
        </pc:sldMkLst>
      </pc:sldChg>
      <pc:sldChg chg="add del">
        <pc:chgData name="Jennifer Dorsey" userId="cb52d225-9ade-4c3c-800b-15ea31a242d9" providerId="ADAL" clId="{453132A3-8C6F-4D02-90E9-38E7F288A71F}" dt="2025-03-17T20:40:54.301" v="2"/>
        <pc:sldMkLst>
          <pc:docMk/>
          <pc:sldMk cId="3505113241" sldId="2147482261"/>
        </pc:sldMkLst>
      </pc:sldChg>
      <pc:sldChg chg="add del">
        <pc:chgData name="Jennifer Dorsey" userId="cb52d225-9ade-4c3c-800b-15ea31a242d9" providerId="ADAL" clId="{453132A3-8C6F-4D02-90E9-38E7F288A71F}" dt="2025-03-17T20:40:54.301" v="2"/>
        <pc:sldMkLst>
          <pc:docMk/>
          <pc:sldMk cId="2393852868" sldId="2147482262"/>
        </pc:sldMkLst>
      </pc:sldChg>
      <pc:sldChg chg="addSp modSp add del mod">
        <pc:chgData name="Jennifer Dorsey" userId="cb52d225-9ade-4c3c-800b-15ea31a242d9" providerId="ADAL" clId="{453132A3-8C6F-4D02-90E9-38E7F288A71F}" dt="2025-03-17T22:18:36.889" v="2717" actId="13926"/>
        <pc:sldMkLst>
          <pc:docMk/>
          <pc:sldMk cId="3740575355" sldId="2147482263"/>
        </pc:sldMkLst>
      </pc:sldChg>
      <pc:sldChg chg="add del">
        <pc:chgData name="Jennifer Dorsey" userId="cb52d225-9ade-4c3c-800b-15ea31a242d9" providerId="ADAL" clId="{453132A3-8C6F-4D02-90E9-38E7F288A71F}" dt="2025-03-17T20:40:54.301" v="2"/>
        <pc:sldMkLst>
          <pc:docMk/>
          <pc:sldMk cId="804118993" sldId="2147482264"/>
        </pc:sldMkLst>
      </pc:sldChg>
      <pc:sldChg chg="ord">
        <pc:chgData name="Jennifer Dorsey" userId="cb52d225-9ade-4c3c-800b-15ea31a242d9" providerId="ADAL" clId="{453132A3-8C6F-4D02-90E9-38E7F288A71F}" dt="2025-03-17T22:21:16.120" v="2729"/>
        <pc:sldMkLst>
          <pc:docMk/>
          <pc:sldMk cId="532229250" sldId="2147483531"/>
        </pc:sldMkLst>
      </pc:sldChg>
      <pc:sldChg chg="ord">
        <pc:chgData name="Jennifer Dorsey" userId="cb52d225-9ade-4c3c-800b-15ea31a242d9" providerId="ADAL" clId="{453132A3-8C6F-4D02-90E9-38E7F288A71F}" dt="2025-03-17T22:21:53.115" v="2731"/>
        <pc:sldMkLst>
          <pc:docMk/>
          <pc:sldMk cId="2058650604" sldId="2147483533"/>
        </pc:sldMkLst>
      </pc:sldChg>
      <pc:sldChg chg="ord">
        <pc:chgData name="Jennifer Dorsey" userId="cb52d225-9ade-4c3c-800b-15ea31a242d9" providerId="ADAL" clId="{453132A3-8C6F-4D02-90E9-38E7F288A71F}" dt="2025-03-17T22:20:28.124" v="2725"/>
        <pc:sldMkLst>
          <pc:docMk/>
          <pc:sldMk cId="3533999625" sldId="2147483584"/>
        </pc:sldMkLst>
      </pc:sldChg>
      <pc:sldChg chg="del">
        <pc:chgData name="Jennifer Dorsey" userId="cb52d225-9ade-4c3c-800b-15ea31a242d9" providerId="ADAL" clId="{453132A3-8C6F-4D02-90E9-38E7F288A71F}" dt="2025-03-17T22:20:54.450" v="2726" actId="47"/>
        <pc:sldMkLst>
          <pc:docMk/>
          <pc:sldMk cId="3147611043" sldId="2147483586"/>
        </pc:sldMkLst>
      </pc:sldChg>
      <pc:sldChg chg="add del">
        <pc:chgData name="Jennifer Dorsey" userId="cb52d225-9ade-4c3c-800b-15ea31a242d9" providerId="ADAL" clId="{453132A3-8C6F-4D02-90E9-38E7F288A71F}" dt="2025-03-17T22:09:52.258" v="2631"/>
        <pc:sldMkLst>
          <pc:docMk/>
          <pc:sldMk cId="546118243" sldId="2147483588"/>
        </pc:sldMkLst>
      </pc:sldChg>
      <pc:sldChg chg="add del setBg">
        <pc:chgData name="Jennifer Dorsey" userId="cb52d225-9ade-4c3c-800b-15ea31a242d9" providerId="ADAL" clId="{453132A3-8C6F-4D02-90E9-38E7F288A71F}" dt="2025-03-17T20:40:49.988" v="1"/>
        <pc:sldMkLst>
          <pc:docMk/>
          <pc:sldMk cId="2034240705" sldId="2147483588"/>
        </pc:sldMkLst>
      </pc:sldChg>
      <pc:sldChg chg="add del">
        <pc:chgData name="Jennifer Dorsey" userId="cb52d225-9ade-4c3c-800b-15ea31a242d9" providerId="ADAL" clId="{453132A3-8C6F-4D02-90E9-38E7F288A71F}" dt="2025-03-17T22:09:47.249" v="2629"/>
        <pc:sldMkLst>
          <pc:docMk/>
          <pc:sldMk cId="3360778192" sldId="2147483588"/>
        </pc:sldMkLst>
      </pc:sldChg>
      <pc:sldChg chg="add del setBg">
        <pc:chgData name="Jennifer Dorsey" userId="cb52d225-9ade-4c3c-800b-15ea31a242d9" providerId="ADAL" clId="{453132A3-8C6F-4D02-90E9-38E7F288A71F}" dt="2025-03-17T20:53:24.765" v="358" actId="47"/>
        <pc:sldMkLst>
          <pc:docMk/>
          <pc:sldMk cId="3376073694" sldId="2147483588"/>
        </pc:sldMkLst>
      </pc:sldChg>
      <pc:sldChg chg="addSp modSp new mod">
        <pc:chgData name="Jennifer Dorsey" userId="cb52d225-9ade-4c3c-800b-15ea31a242d9" providerId="ADAL" clId="{453132A3-8C6F-4D02-90E9-38E7F288A71F}" dt="2025-03-17T22:18:00.843" v="2709" actId="13926"/>
        <pc:sldMkLst>
          <pc:docMk/>
          <pc:sldMk cId="4083648884" sldId="2147483588"/>
        </pc:sldMkLst>
      </pc:sldChg>
      <pc:sldMasterChg chg="delSldLayout">
        <pc:chgData name="Jennifer Dorsey" userId="cb52d225-9ade-4c3c-800b-15ea31a242d9" providerId="ADAL" clId="{453132A3-8C6F-4D02-90E9-38E7F288A71F}" dt="2025-03-17T22:20:02.708" v="2722" actId="47"/>
        <pc:sldMasterMkLst>
          <pc:docMk/>
          <pc:sldMasterMk cId="3588427678" sldId="2147484229"/>
        </pc:sldMasterMkLst>
        <pc:sldLayoutChg chg="del">
          <pc:chgData name="Jennifer Dorsey" userId="cb52d225-9ade-4c3c-800b-15ea31a242d9" providerId="ADAL" clId="{453132A3-8C6F-4D02-90E9-38E7F288A71F}" dt="2025-03-17T22:20:02.708" v="2722" actId="47"/>
          <pc:sldLayoutMkLst>
            <pc:docMk/>
            <pc:sldMasterMk cId="3588427678" sldId="2147484229"/>
            <pc:sldLayoutMk cId="316887421" sldId="2147485530"/>
          </pc:sldLayoutMkLst>
        </pc:sldLayoutChg>
      </pc:sldMasterChg>
    </pc:docChg>
  </pc:docChgLst>
  <pc:docChgLst>
    <pc:chgData name="Fabio Araujo" userId="S::fabioaraujo@microsoft.com::d4f88c82-9b96-44bb-9d5f-ebe336738fd6" providerId="AD" clId="Web-{BAC9A50A-AA36-800F-A9CE-6EC8EE34C77E}"/>
    <pc:docChg chg="modSld">
      <pc:chgData name="Fabio Araujo" userId="S::fabioaraujo@microsoft.com::d4f88c82-9b96-44bb-9d5f-ebe336738fd6" providerId="AD" clId="Web-{BAC9A50A-AA36-800F-A9CE-6EC8EE34C77E}" dt="2025-03-13T14:56:17.986" v="11" actId="1076"/>
      <pc:docMkLst>
        <pc:docMk/>
      </pc:docMkLst>
      <pc:sldChg chg="modSp">
        <pc:chgData name="Fabio Araujo" userId="S::fabioaraujo@microsoft.com::d4f88c82-9b96-44bb-9d5f-ebe336738fd6" providerId="AD" clId="Web-{BAC9A50A-AA36-800F-A9CE-6EC8EE34C77E}" dt="2025-03-13T14:56:17.986" v="11" actId="1076"/>
        <pc:sldMkLst>
          <pc:docMk/>
          <pc:sldMk cId="2501024343" sldId="2076138253"/>
        </pc:sldMkLst>
        <pc:spChg chg="mod">
          <ac:chgData name="Fabio Araujo" userId="S::fabioaraujo@microsoft.com::d4f88c82-9b96-44bb-9d5f-ebe336738fd6" providerId="AD" clId="Web-{BAC9A50A-AA36-800F-A9CE-6EC8EE34C77E}" dt="2025-03-13T14:56:08.033" v="3" actId="20577"/>
          <ac:spMkLst>
            <pc:docMk/>
            <pc:sldMk cId="2501024343" sldId="2076138253"/>
            <ac:spMk id="5" creationId="{00000000-0000-0000-0000-000000000000}"/>
          </ac:spMkLst>
        </pc:spChg>
        <pc:spChg chg="mod">
          <ac:chgData name="Fabio Araujo" userId="S::fabioaraujo@microsoft.com::d4f88c82-9b96-44bb-9d5f-ebe336738fd6" providerId="AD" clId="Web-{BAC9A50A-AA36-800F-A9CE-6EC8EE34C77E}" dt="2025-03-13T14:56:17.986" v="11" actId="1076"/>
          <ac:spMkLst>
            <pc:docMk/>
            <pc:sldMk cId="2501024343" sldId="2076138253"/>
            <ac:spMk id="7" creationId="{9B99A9B6-3F8A-938D-7CA2-A3101C08D350}"/>
          </ac:spMkLst>
        </pc:spChg>
      </pc:sldChg>
    </pc:docChg>
  </pc:docChgLst>
  <pc:docChgLst>
    <pc:chgData name="Maya Ryom (Allegis Group Services)" userId="S::a-mayaryom@microsoft.com::1eea4cee-ae01-4369-84a7-cd305b70b8b4" providerId="AD" clId="Web-{DB78AC11-67DC-0B0C-38FD-3E6D129B37A6}"/>
    <pc:docChg chg="modSld sldOrd delMainMaster modMainMaster modSection">
      <pc:chgData name="Maya Ryom (Allegis Group Services)" userId="S::a-mayaryom@microsoft.com::1eea4cee-ae01-4369-84a7-cd305b70b8b4" providerId="AD" clId="Web-{DB78AC11-67DC-0B0C-38FD-3E6D129B37A6}" dt="2025-03-19T09:13:06.731" v="4"/>
      <pc:docMkLst>
        <pc:docMk/>
      </pc:docMkLst>
      <pc:sldChg chg="modSp mod modClrScheme chgLayout">
        <pc:chgData name="Maya Ryom (Allegis Group Services)" userId="S::a-mayaryom@microsoft.com::1eea4cee-ae01-4369-84a7-cd305b70b8b4" providerId="AD" clId="Web-{DB78AC11-67DC-0B0C-38FD-3E6D129B37A6}" dt="2025-03-19T09:13:03.637" v="3"/>
        <pc:sldMkLst>
          <pc:docMk/>
          <pc:sldMk cId="637898953" sldId="2147482004"/>
        </pc:sldMkLst>
      </pc:sldChg>
      <pc:sldChg chg="modSp mod modClrScheme chgLayout">
        <pc:chgData name="Maya Ryom (Allegis Group Services)" userId="S::a-mayaryom@microsoft.com::1eea4cee-ae01-4369-84a7-cd305b70b8b4" providerId="AD" clId="Web-{DB78AC11-67DC-0B0C-38FD-3E6D129B37A6}" dt="2025-03-19T09:13:03.637" v="3"/>
        <pc:sldMkLst>
          <pc:docMk/>
          <pc:sldMk cId="714851439" sldId="2147482005"/>
        </pc:sldMkLst>
      </pc:sldChg>
      <pc:sldChg chg="modSp mod modClrScheme chgLayout">
        <pc:chgData name="Maya Ryom (Allegis Group Services)" userId="S::a-mayaryom@microsoft.com::1eea4cee-ae01-4369-84a7-cd305b70b8b4" providerId="AD" clId="Web-{DB78AC11-67DC-0B0C-38FD-3E6D129B37A6}" dt="2025-03-19T09:13:03.637" v="3"/>
        <pc:sldMkLst>
          <pc:docMk/>
          <pc:sldMk cId="1495234749" sldId="2147482014"/>
        </pc:sldMkLst>
      </pc:sldChg>
      <pc:sldChg chg="modSp mod modClrScheme chgLayout">
        <pc:chgData name="Maya Ryom (Allegis Group Services)" userId="S::a-mayaryom@microsoft.com::1eea4cee-ae01-4369-84a7-cd305b70b8b4" providerId="AD" clId="Web-{DB78AC11-67DC-0B0C-38FD-3E6D129B37A6}" dt="2025-03-19T09:13:03.637" v="3"/>
        <pc:sldMkLst>
          <pc:docMk/>
          <pc:sldMk cId="2331023263" sldId="2147482019"/>
        </pc:sldMkLst>
      </pc:sldChg>
      <pc:sldChg chg="ord">
        <pc:chgData name="Maya Ryom (Allegis Group Services)" userId="S::a-mayaryom@microsoft.com::1eea4cee-ae01-4369-84a7-cd305b70b8b4" providerId="AD" clId="Web-{DB78AC11-67DC-0B0C-38FD-3E6D129B37A6}" dt="2025-03-19T09:13:06.731" v="4"/>
        <pc:sldMkLst>
          <pc:docMk/>
          <pc:sldMk cId="532229250" sldId="2147483531"/>
        </pc:sldMkLst>
      </pc:sldChg>
      <pc:sldChg chg="ord">
        <pc:chgData name="Maya Ryom (Allegis Group Services)" userId="S::a-mayaryom@microsoft.com::1eea4cee-ae01-4369-84a7-cd305b70b8b4" providerId="AD" clId="Web-{DB78AC11-67DC-0B0C-38FD-3E6D129B37A6}" dt="2025-03-19T09:13:01.153" v="0"/>
        <pc:sldMkLst>
          <pc:docMk/>
          <pc:sldMk cId="2058650604" sldId="2147483533"/>
        </pc:sldMkLst>
      </pc:sldChg>
      <pc:sldMasterChg chg="delSldLayout modSldLayout sldLayoutOrd">
        <pc:chgData name="Maya Ryom (Allegis Group Services)" userId="S::a-mayaryom@microsoft.com::1eea4cee-ae01-4369-84a7-cd305b70b8b4" providerId="AD" clId="Web-{DB78AC11-67DC-0B0C-38FD-3E6D129B37A6}" dt="2025-03-19T09:13:03.434" v="2"/>
        <pc:sldMasterMkLst>
          <pc:docMk/>
          <pc:sldMasterMk cId="1816622894" sldId="2147483729"/>
        </pc:sldMasterMkLst>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779139161" sldId="214748553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988181498" sldId="214748553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473600211" sldId="214748553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933578411" sldId="2147485534"/>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377776968" sldId="214748553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434820222" sldId="214748553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44860211" sldId="214748553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59014320" sldId="214748553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14999626" sldId="2147485539"/>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167297009" sldId="214748554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132618943" sldId="214748554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84881441" sldId="214748554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700274849" sldId="214748554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72438077" sldId="214748554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305029478" sldId="214748554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360396620" sldId="2147485546"/>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3636538665" sldId="214748554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27972980" sldId="214748554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377848605" sldId="2147485549"/>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2203381148" sldId="214748555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85904730" sldId="214748555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81567348" sldId="214748555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9779501" sldId="214748555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197565818" sldId="214748555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31752468" sldId="214748555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99832516" sldId="214748555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382010919" sldId="214748555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935722720" sldId="214748555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9977224" sldId="2147485559"/>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847053540" sldId="214748556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05610499" sldId="214748556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767021985" sldId="214748556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804072801" sldId="214748556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747254922" sldId="214748556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175686975" sldId="214748556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675669758" sldId="214748556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81619161" sldId="214748556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17911832" sldId="214748556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36733940" sldId="2147485569"/>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996943212" sldId="214748557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393156198" sldId="214748557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988926526" sldId="214748557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21681205" sldId="214748557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34279273" sldId="214748557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024984562" sldId="214748557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528308329" sldId="214748557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140425676" sldId="214748557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02684742" sldId="214748557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710548721" sldId="2147485579"/>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94810181" sldId="214748558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455529529" sldId="214748558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206112652" sldId="214748558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32454816" sldId="2147485583"/>
          </pc:sldLayoutMkLst>
        </pc:sldLayoutChg>
        <pc:sldLayoutChg chg="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91822624" sldId="2147485584"/>
          </pc:sldLayoutMkLst>
        </pc:sldLayoutChg>
        <pc:sldLayoutChg chg="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83782463" sldId="2147485585"/>
          </pc:sldLayoutMkLst>
        </pc:sldLayoutChg>
        <pc:sldLayoutChg chg="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0634040" sldId="214748558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709871958" sldId="2147485587"/>
          </pc:sldLayoutMkLst>
        </pc:sldLayoutChg>
      </pc:sldMasterChg>
      <pc:sldMasterChg chg="del sldLayoutOrd">
        <pc:chgData name="Maya Ryom (Allegis Group Services)" userId="S::a-mayaryom@microsoft.com::1eea4cee-ae01-4369-84a7-cd305b70b8b4" providerId="AD" clId="Web-{DB78AC11-67DC-0B0C-38FD-3E6D129B37A6}" dt="2025-03-19T09:13:03.434" v="2"/>
        <pc:sldMasterMkLst>
          <pc:docMk/>
          <pc:sldMasterMk cId="1816622894" sldId="2147485530"/>
        </pc:sldMasterMkLst>
      </pc:sldMasterChg>
    </pc:docChg>
  </pc:docChgLst>
  <pc:docChgLst>
    <pc:chgData name="Maya Ryom (Allegis Group Services)" userId="S::a-mayaryom@microsoft.com::1eea4cee-ae01-4369-84a7-cd305b70b8b4" providerId="AD" clId="Web-{2360F22A-92CD-AC80-D79C-C165CD67D680}"/>
    <pc:docChg chg="addSld delSld modSld sldOrd addMainMaster modMainMaster modSection">
      <pc:chgData name="Maya Ryom (Allegis Group Services)" userId="S::a-mayaryom@microsoft.com::1eea4cee-ae01-4369-84a7-cd305b70b8b4" providerId="AD" clId="Web-{2360F22A-92CD-AC80-D79C-C165CD67D680}" dt="2025-03-19T09:03:45.626" v="47"/>
      <pc:docMkLst>
        <pc:docMk/>
      </pc:docMkLst>
      <pc:sldChg chg="del">
        <pc:chgData name="Maya Ryom (Allegis Group Services)" userId="S::a-mayaryom@microsoft.com::1eea4cee-ae01-4369-84a7-cd305b70b8b4" providerId="AD" clId="Web-{2360F22A-92CD-AC80-D79C-C165CD67D680}" dt="2025-03-19T08:58:10.849" v="8"/>
        <pc:sldMkLst>
          <pc:docMk/>
          <pc:sldMk cId="3185762195" sldId="261"/>
        </pc:sldMkLst>
      </pc:sldChg>
      <pc:sldChg chg="del">
        <pc:chgData name="Maya Ryom (Allegis Group Services)" userId="S::a-mayaryom@microsoft.com::1eea4cee-ae01-4369-84a7-cd305b70b8b4" providerId="AD" clId="Web-{2360F22A-92CD-AC80-D79C-C165CD67D680}" dt="2025-03-19T08:58:44.084" v="23"/>
        <pc:sldMkLst>
          <pc:docMk/>
          <pc:sldMk cId="1987420379" sldId="269"/>
        </pc:sldMkLst>
      </pc:sldChg>
      <pc:sldChg chg="mod">
        <pc:chgData name="Maya Ryom (Allegis Group Services)" userId="S::a-mayaryom@microsoft.com::1eea4cee-ae01-4369-84a7-cd305b70b8b4" providerId="AD" clId="Web-{2360F22A-92CD-AC80-D79C-C165CD67D680}" dt="2025-03-19T09:02:42.577" v="45"/>
        <pc:sldMkLst>
          <pc:docMk/>
          <pc:sldMk cId="2402828649" sldId="1532"/>
        </pc:sldMkLst>
      </pc:sldChg>
      <pc:sldChg chg="mod">
        <pc:chgData name="Maya Ryom (Allegis Group Services)" userId="S::a-mayaryom@microsoft.com::1eea4cee-ae01-4369-84a7-cd305b70b8b4" providerId="AD" clId="Web-{2360F22A-92CD-AC80-D79C-C165CD67D680}" dt="2025-03-19T09:02:42.577" v="45"/>
        <pc:sldMkLst>
          <pc:docMk/>
          <pc:sldMk cId="2639379867" sldId="1720"/>
        </pc:sldMkLst>
      </pc:sldChg>
      <pc:sldChg chg="mod">
        <pc:chgData name="Maya Ryom (Allegis Group Services)" userId="S::a-mayaryom@microsoft.com::1eea4cee-ae01-4369-84a7-cd305b70b8b4" providerId="AD" clId="Web-{2360F22A-92CD-AC80-D79C-C165CD67D680}" dt="2025-03-19T09:02:42.577" v="45"/>
        <pc:sldMkLst>
          <pc:docMk/>
          <pc:sldMk cId="1122963436" sldId="2046"/>
        </pc:sldMkLst>
      </pc:sldChg>
      <pc:sldChg chg="mod">
        <pc:chgData name="Maya Ryom (Allegis Group Services)" userId="S::a-mayaryom@microsoft.com::1eea4cee-ae01-4369-84a7-cd305b70b8b4" providerId="AD" clId="Web-{2360F22A-92CD-AC80-D79C-C165CD67D680}" dt="2025-03-19T09:02:42.577" v="45"/>
        <pc:sldMkLst>
          <pc:docMk/>
          <pc:sldMk cId="1787353190" sldId="2076138105"/>
        </pc:sldMkLst>
      </pc:sldChg>
      <pc:sldChg chg="mod ord">
        <pc:chgData name="Maya Ryom (Allegis Group Services)" userId="S::a-mayaryom@microsoft.com::1eea4cee-ae01-4369-84a7-cd305b70b8b4" providerId="AD" clId="Web-{2360F22A-92CD-AC80-D79C-C165CD67D680}" dt="2025-03-19T09:02:42.577" v="45"/>
        <pc:sldMkLst>
          <pc:docMk/>
          <pc:sldMk cId="4269075036" sldId="2076138187"/>
        </pc:sldMkLst>
      </pc:sldChg>
      <pc:sldChg chg="modSp mod">
        <pc:chgData name="Maya Ryom (Allegis Group Services)" userId="S::a-mayaryom@microsoft.com::1eea4cee-ae01-4369-84a7-cd305b70b8b4" providerId="AD" clId="Web-{2360F22A-92CD-AC80-D79C-C165CD67D680}" dt="2025-03-19T09:02:42.577" v="45"/>
        <pc:sldMkLst>
          <pc:docMk/>
          <pc:sldMk cId="426918691" sldId="2076138216"/>
        </pc:sldMkLst>
        <pc:spChg chg="mod">
          <ac:chgData name="Maya Ryom (Allegis Group Services)" userId="S::a-mayaryom@microsoft.com::1eea4cee-ae01-4369-84a7-cd305b70b8b4" providerId="AD" clId="Web-{2360F22A-92CD-AC80-D79C-C165CD67D680}" dt="2025-03-19T08:58:04.630" v="7" actId="20577"/>
          <ac:spMkLst>
            <pc:docMk/>
            <pc:sldMk cId="426918691" sldId="2076138216"/>
            <ac:spMk id="6" creationId="{460D15DF-EF97-44E8-BCDF-D3F111A97291}"/>
          </ac:spMkLst>
        </pc:spChg>
      </pc:sldChg>
      <pc:sldChg chg="mod">
        <pc:chgData name="Maya Ryom (Allegis Group Services)" userId="S::a-mayaryom@microsoft.com::1eea4cee-ae01-4369-84a7-cd305b70b8b4" providerId="AD" clId="Web-{2360F22A-92CD-AC80-D79C-C165CD67D680}" dt="2025-03-19T09:02:42.577" v="45"/>
        <pc:sldMkLst>
          <pc:docMk/>
          <pc:sldMk cId="1119697693" sldId="2076138218"/>
        </pc:sldMkLst>
      </pc:sldChg>
      <pc:sldChg chg="mod">
        <pc:chgData name="Maya Ryom (Allegis Group Services)" userId="S::a-mayaryom@microsoft.com::1eea4cee-ae01-4369-84a7-cd305b70b8b4" providerId="AD" clId="Web-{2360F22A-92CD-AC80-D79C-C165CD67D680}" dt="2025-03-19T09:02:42.577" v="45"/>
        <pc:sldMkLst>
          <pc:docMk/>
          <pc:sldMk cId="3450065845" sldId="2076138227"/>
        </pc:sldMkLst>
      </pc:sldChg>
      <pc:sldChg chg="mod">
        <pc:chgData name="Maya Ryom (Allegis Group Services)" userId="S::a-mayaryom@microsoft.com::1eea4cee-ae01-4369-84a7-cd305b70b8b4" providerId="AD" clId="Web-{2360F22A-92CD-AC80-D79C-C165CD67D680}" dt="2025-03-19T09:02:42.577" v="45"/>
        <pc:sldMkLst>
          <pc:docMk/>
          <pc:sldMk cId="1692797587" sldId="2076138228"/>
        </pc:sldMkLst>
      </pc:sldChg>
      <pc:sldChg chg="mod">
        <pc:chgData name="Maya Ryom (Allegis Group Services)" userId="S::a-mayaryom@microsoft.com::1eea4cee-ae01-4369-84a7-cd305b70b8b4" providerId="AD" clId="Web-{2360F22A-92CD-AC80-D79C-C165CD67D680}" dt="2025-03-19T09:02:42.577" v="45"/>
        <pc:sldMkLst>
          <pc:docMk/>
          <pc:sldMk cId="1108801255" sldId="2076138246"/>
        </pc:sldMkLst>
      </pc:sldChg>
      <pc:sldChg chg="modSp mod">
        <pc:chgData name="Maya Ryom (Allegis Group Services)" userId="S::a-mayaryom@microsoft.com::1eea4cee-ae01-4369-84a7-cd305b70b8b4" providerId="AD" clId="Web-{2360F22A-92CD-AC80-D79C-C165CD67D680}" dt="2025-03-19T09:02:42.577" v="45"/>
        <pc:sldMkLst>
          <pc:docMk/>
          <pc:sldMk cId="2501024343" sldId="2076138253"/>
        </pc:sldMkLst>
        <pc:spChg chg="mod">
          <ac:chgData name="Maya Ryom (Allegis Group Services)" userId="S::a-mayaryom@microsoft.com::1eea4cee-ae01-4369-84a7-cd305b70b8b4" providerId="AD" clId="Web-{2360F22A-92CD-AC80-D79C-C165CD67D680}" dt="2025-03-19T08:57:56.379" v="4" actId="20577"/>
          <ac:spMkLst>
            <pc:docMk/>
            <pc:sldMk cId="2501024343" sldId="2076138253"/>
            <ac:spMk id="5" creationId="{00000000-0000-0000-0000-000000000000}"/>
          </ac:spMkLst>
        </pc:spChg>
        <pc:spChg chg="mod">
          <ac:chgData name="Maya Ryom (Allegis Group Services)" userId="S::a-mayaryom@microsoft.com::1eea4cee-ae01-4369-84a7-cd305b70b8b4" providerId="AD" clId="Web-{2360F22A-92CD-AC80-D79C-C165CD67D680}" dt="2025-03-19T08:57:49.973" v="1" actId="20577"/>
          <ac:spMkLst>
            <pc:docMk/>
            <pc:sldMk cId="2501024343" sldId="2076138253"/>
            <ac:spMk id="7" creationId="{9B99A9B6-3F8A-938D-7CA2-A3101C08D350}"/>
          </ac:spMkLst>
        </pc:spChg>
      </pc:sldChg>
      <pc:sldChg chg="del">
        <pc:chgData name="Maya Ryom (Allegis Group Services)" userId="S::a-mayaryom@microsoft.com::1eea4cee-ae01-4369-84a7-cd305b70b8b4" providerId="AD" clId="Web-{2360F22A-92CD-AC80-D79C-C165CD67D680}" dt="2025-03-19T08:58:44.069" v="22"/>
        <pc:sldMkLst>
          <pc:docMk/>
          <pc:sldMk cId="4035934866" sldId="2147481828"/>
        </pc:sldMkLst>
      </pc:sldChg>
      <pc:sldChg chg="del">
        <pc:chgData name="Maya Ryom (Allegis Group Services)" userId="S::a-mayaryom@microsoft.com::1eea4cee-ae01-4369-84a7-cd305b70b8b4" providerId="AD" clId="Web-{2360F22A-92CD-AC80-D79C-C165CD67D680}" dt="2025-03-19T08:58:13.646" v="9"/>
        <pc:sldMkLst>
          <pc:docMk/>
          <pc:sldMk cId="1971722357" sldId="2147481841"/>
        </pc:sldMkLst>
      </pc:sldChg>
      <pc:sldChg chg="add mod setBg">
        <pc:chgData name="Maya Ryom (Allegis Group Services)" userId="S::a-mayaryom@microsoft.com::1eea4cee-ae01-4369-84a7-cd305b70b8b4" providerId="AD" clId="Web-{2360F22A-92CD-AC80-D79C-C165CD67D680}" dt="2025-03-19T09:02:42.577" v="45"/>
        <pc:sldMkLst>
          <pc:docMk/>
          <pc:sldMk cId="637898953" sldId="2147482004"/>
        </pc:sldMkLst>
      </pc:sldChg>
      <pc:sldChg chg="add mod setBg">
        <pc:chgData name="Maya Ryom (Allegis Group Services)" userId="S::a-mayaryom@microsoft.com::1eea4cee-ae01-4369-84a7-cd305b70b8b4" providerId="AD" clId="Web-{2360F22A-92CD-AC80-D79C-C165CD67D680}" dt="2025-03-19T09:02:42.577" v="45"/>
        <pc:sldMkLst>
          <pc:docMk/>
          <pc:sldMk cId="714851439" sldId="2147482005"/>
        </pc:sldMkLst>
      </pc:sldChg>
      <pc:sldChg chg="add mod setBg">
        <pc:chgData name="Maya Ryom (Allegis Group Services)" userId="S::a-mayaryom@microsoft.com::1eea4cee-ae01-4369-84a7-cd305b70b8b4" providerId="AD" clId="Web-{2360F22A-92CD-AC80-D79C-C165CD67D680}" dt="2025-03-19T09:02:42.577" v="45"/>
        <pc:sldMkLst>
          <pc:docMk/>
          <pc:sldMk cId="1495234749" sldId="2147482014"/>
        </pc:sldMkLst>
      </pc:sldChg>
      <pc:sldChg chg="addSp delSp add mod setBg addAnim delAnim">
        <pc:chgData name="Maya Ryom (Allegis Group Services)" userId="S::a-mayaryom@microsoft.com::1eea4cee-ae01-4369-84a7-cd305b70b8b4" providerId="AD" clId="Web-{2360F22A-92CD-AC80-D79C-C165CD67D680}" dt="2025-03-19T09:03:45.626" v="47"/>
        <pc:sldMkLst>
          <pc:docMk/>
          <pc:sldMk cId="2331023263" sldId="2147482019"/>
        </pc:sldMkLst>
      </pc:sldChg>
      <pc:sldChg chg="del">
        <pc:chgData name="Maya Ryom (Allegis Group Services)" userId="S::a-mayaryom@microsoft.com::1eea4cee-ae01-4369-84a7-cd305b70b8b4" providerId="AD" clId="Web-{2360F22A-92CD-AC80-D79C-C165CD67D680}" dt="2025-03-19T08:58:25.162" v="13"/>
        <pc:sldMkLst>
          <pc:docMk/>
          <pc:sldMk cId="1400218902" sldId="2147482223"/>
        </pc:sldMkLst>
      </pc:sldChg>
      <pc:sldChg chg="del">
        <pc:chgData name="Maya Ryom (Allegis Group Services)" userId="S::a-mayaryom@microsoft.com::1eea4cee-ae01-4369-84a7-cd305b70b8b4" providerId="AD" clId="Web-{2360F22A-92CD-AC80-D79C-C165CD67D680}" dt="2025-03-19T08:58:29.131" v="14"/>
        <pc:sldMkLst>
          <pc:docMk/>
          <pc:sldMk cId="1501762718" sldId="2147482227"/>
        </pc:sldMkLst>
      </pc:sldChg>
      <pc:sldChg chg="del">
        <pc:chgData name="Maya Ryom (Allegis Group Services)" userId="S::a-mayaryom@microsoft.com::1eea4cee-ae01-4369-84a7-cd305b70b8b4" providerId="AD" clId="Web-{2360F22A-92CD-AC80-D79C-C165CD67D680}" dt="2025-03-19T08:58:02.145" v="5"/>
        <pc:sldMkLst>
          <pc:docMk/>
          <pc:sldMk cId="2910222777" sldId="2147482231"/>
        </pc:sldMkLst>
      </pc:sldChg>
      <pc:sldChg chg="del">
        <pc:chgData name="Maya Ryom (Allegis Group Services)" userId="S::a-mayaryom@microsoft.com::1eea4cee-ae01-4369-84a7-cd305b70b8b4" providerId="AD" clId="Web-{2360F22A-92CD-AC80-D79C-C165CD67D680}" dt="2025-03-19T08:58:51.944" v="24"/>
        <pc:sldMkLst>
          <pc:docMk/>
          <pc:sldMk cId="3781149786" sldId="2147482242"/>
        </pc:sldMkLst>
      </pc:sldChg>
      <pc:sldChg chg="del">
        <pc:chgData name="Maya Ryom (Allegis Group Services)" userId="S::a-mayaryom@microsoft.com::1eea4cee-ae01-4369-84a7-cd305b70b8b4" providerId="AD" clId="Web-{2360F22A-92CD-AC80-D79C-C165CD67D680}" dt="2025-03-19T08:58:32.490" v="15"/>
        <pc:sldMkLst>
          <pc:docMk/>
          <pc:sldMk cId="2963733053" sldId="2147482251"/>
        </pc:sldMkLst>
      </pc:sldChg>
      <pc:sldChg chg="del">
        <pc:chgData name="Maya Ryom (Allegis Group Services)" userId="S::a-mayaryom@microsoft.com::1eea4cee-ae01-4369-84a7-cd305b70b8b4" providerId="AD" clId="Web-{2360F22A-92CD-AC80-D79C-C165CD67D680}" dt="2025-03-19T08:58:54.038" v="25"/>
        <pc:sldMkLst>
          <pc:docMk/>
          <pc:sldMk cId="3322670398" sldId="2147482252"/>
        </pc:sldMkLst>
      </pc:sldChg>
      <pc:sldChg chg="modSp del">
        <pc:chgData name="Maya Ryom (Allegis Group Services)" userId="S::a-mayaryom@microsoft.com::1eea4cee-ae01-4369-84a7-cd305b70b8b4" providerId="AD" clId="Web-{2360F22A-92CD-AC80-D79C-C165CD67D680}" dt="2025-03-19T09:00:01.415" v="34"/>
        <pc:sldMkLst>
          <pc:docMk/>
          <pc:sldMk cId="873336208" sldId="2147482253"/>
        </pc:sldMkLst>
      </pc:sldChg>
      <pc:sldChg chg="modSp mod ord">
        <pc:chgData name="Maya Ryom (Allegis Group Services)" userId="S::a-mayaryom@microsoft.com::1eea4cee-ae01-4369-84a7-cd305b70b8b4" providerId="AD" clId="Web-{2360F22A-92CD-AC80-D79C-C165CD67D680}" dt="2025-03-19T09:02:42.577" v="45"/>
        <pc:sldMkLst>
          <pc:docMk/>
          <pc:sldMk cId="1702333183" sldId="2147482256"/>
        </pc:sldMkLst>
      </pc:sldChg>
      <pc:sldChg chg="del">
        <pc:chgData name="Maya Ryom (Allegis Group Services)" userId="S::a-mayaryom@microsoft.com::1eea4cee-ae01-4369-84a7-cd305b70b8b4" providerId="AD" clId="Web-{2360F22A-92CD-AC80-D79C-C165CD67D680}" dt="2025-03-19T08:58:44.069" v="21"/>
        <pc:sldMkLst>
          <pc:docMk/>
          <pc:sldMk cId="1570482869" sldId="2147482260"/>
        </pc:sldMkLst>
      </pc:sldChg>
      <pc:sldChg chg="del">
        <pc:chgData name="Maya Ryom (Allegis Group Services)" userId="S::a-mayaryom@microsoft.com::1eea4cee-ae01-4369-84a7-cd305b70b8b4" providerId="AD" clId="Web-{2360F22A-92CD-AC80-D79C-C165CD67D680}" dt="2025-03-19T08:58:44.053" v="20"/>
        <pc:sldMkLst>
          <pc:docMk/>
          <pc:sldMk cId="3505113241" sldId="2147482261"/>
        </pc:sldMkLst>
      </pc:sldChg>
      <pc:sldChg chg="del">
        <pc:chgData name="Maya Ryom (Allegis Group Services)" userId="S::a-mayaryom@microsoft.com::1eea4cee-ae01-4369-84a7-cd305b70b8b4" providerId="AD" clId="Web-{2360F22A-92CD-AC80-D79C-C165CD67D680}" dt="2025-03-19T08:58:44.053" v="19"/>
        <pc:sldMkLst>
          <pc:docMk/>
          <pc:sldMk cId="2393852868" sldId="2147482262"/>
        </pc:sldMkLst>
      </pc:sldChg>
      <pc:sldChg chg="del">
        <pc:chgData name="Maya Ryom (Allegis Group Services)" userId="S::a-mayaryom@microsoft.com::1eea4cee-ae01-4369-84a7-cd305b70b8b4" providerId="AD" clId="Web-{2360F22A-92CD-AC80-D79C-C165CD67D680}" dt="2025-03-19T08:58:44.037" v="17"/>
        <pc:sldMkLst>
          <pc:docMk/>
          <pc:sldMk cId="3740575355" sldId="2147482263"/>
        </pc:sldMkLst>
      </pc:sldChg>
      <pc:sldChg chg="del">
        <pc:chgData name="Maya Ryom (Allegis Group Services)" userId="S::a-mayaryom@microsoft.com::1eea4cee-ae01-4369-84a7-cd305b70b8b4" providerId="AD" clId="Web-{2360F22A-92CD-AC80-D79C-C165CD67D680}" dt="2025-03-19T08:58:44.037" v="16"/>
        <pc:sldMkLst>
          <pc:docMk/>
          <pc:sldMk cId="804118993" sldId="2147482264"/>
        </pc:sldMkLst>
      </pc:sldChg>
      <pc:sldChg chg="mod ord">
        <pc:chgData name="Maya Ryom (Allegis Group Services)" userId="S::a-mayaryom@microsoft.com::1eea4cee-ae01-4369-84a7-cd305b70b8b4" providerId="AD" clId="Web-{2360F22A-92CD-AC80-D79C-C165CD67D680}" dt="2025-03-19T09:02:42.577" v="45"/>
        <pc:sldMkLst>
          <pc:docMk/>
          <pc:sldMk cId="532229250" sldId="2147483531"/>
        </pc:sldMkLst>
      </pc:sldChg>
      <pc:sldChg chg="mod ord">
        <pc:chgData name="Maya Ryom (Allegis Group Services)" userId="S::a-mayaryom@microsoft.com::1eea4cee-ae01-4369-84a7-cd305b70b8b4" providerId="AD" clId="Web-{2360F22A-92CD-AC80-D79C-C165CD67D680}" dt="2025-03-19T09:02:42.577" v="45"/>
        <pc:sldMkLst>
          <pc:docMk/>
          <pc:sldMk cId="2058650604" sldId="2147483533"/>
        </pc:sldMkLst>
      </pc:sldChg>
      <pc:sldChg chg="mod ord">
        <pc:chgData name="Maya Ryom (Allegis Group Services)" userId="S::a-mayaryom@microsoft.com::1eea4cee-ae01-4369-84a7-cd305b70b8b4" providerId="AD" clId="Web-{2360F22A-92CD-AC80-D79C-C165CD67D680}" dt="2025-03-19T09:02:42.577" v="45"/>
        <pc:sldMkLst>
          <pc:docMk/>
          <pc:sldMk cId="3533999625" sldId="2147483584"/>
        </pc:sldMkLst>
      </pc:sldChg>
      <pc:sldChg chg="mod ord">
        <pc:chgData name="Maya Ryom (Allegis Group Services)" userId="S::a-mayaryom@microsoft.com::1eea4cee-ae01-4369-84a7-cd305b70b8b4" providerId="AD" clId="Web-{2360F22A-92CD-AC80-D79C-C165CD67D680}" dt="2025-03-19T09:02:42.577" v="45"/>
        <pc:sldMkLst>
          <pc:docMk/>
          <pc:sldMk cId="3132991866" sldId="2147483585"/>
        </pc:sldMkLst>
      </pc:sldChg>
      <pc:sldChg chg="mod">
        <pc:chgData name="Maya Ryom (Allegis Group Services)" userId="S::a-mayaryom@microsoft.com::1eea4cee-ae01-4369-84a7-cd305b70b8b4" providerId="AD" clId="Web-{2360F22A-92CD-AC80-D79C-C165CD67D680}" dt="2025-03-19T09:02:42.577" v="45"/>
        <pc:sldMkLst>
          <pc:docMk/>
          <pc:sldMk cId="758100845" sldId="2147483587"/>
        </pc:sldMkLst>
      </pc:sldChg>
      <pc:sldChg chg="del">
        <pc:chgData name="Maya Ryom (Allegis Group Services)" userId="S::a-mayaryom@microsoft.com::1eea4cee-ae01-4369-84a7-cd305b70b8b4" providerId="AD" clId="Web-{2360F22A-92CD-AC80-D79C-C165CD67D680}" dt="2025-03-19T08:58:44.037" v="18"/>
        <pc:sldMkLst>
          <pc:docMk/>
          <pc:sldMk cId="4083648884" sldId="2147483588"/>
        </pc:sldMkLst>
      </pc:sldChg>
      <pc:sldMasterChg chg="mod setBg modSldLayout">
        <pc:chgData name="Maya Ryom (Allegis Group Services)" userId="S::a-mayaryom@microsoft.com::1eea4cee-ae01-4369-84a7-cd305b70b8b4" providerId="AD" clId="Web-{2360F22A-92CD-AC80-D79C-C165CD67D680}" dt="2025-03-19T09:02:42.577" v="45"/>
        <pc:sldMasterMkLst>
          <pc:docMk/>
          <pc:sldMasterMk cId="3437822802" sldId="2147483660"/>
        </pc:sldMasterMkLst>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366188436" sldId="21474836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368876318" sldId="21474836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719442747" sldId="21474836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545915876" sldId="21474836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227565251" sldId="21474836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725553285" sldId="21474836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10789867" sldId="21474836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429346269" sldId="21474836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846515309" sldId="21474836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062268511" sldId="21474836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083873578" sldId="21474836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91360533" sldId="21474836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003018228" sldId="21474836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950968560" sldId="21474836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882676031" sldId="21474836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207011470" sldId="21474836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162029887" sldId="21474836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240401943" sldId="214748367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629581906" sldId="214748367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154127160" sldId="21474836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026188479" sldId="214748368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493084375" sldId="214748368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221373060" sldId="21474836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534725312" sldId="21474836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692511310" sldId="21474836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281249140" sldId="21474836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163481110" sldId="214748368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271765270" sldId="21474836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105608926" sldId="21474836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32207691" sldId="21474836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082407681" sldId="21474836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971332911" sldId="214748369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149725218" sldId="214748369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161160613" sldId="21474836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80389389" sldId="21474836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035458138" sldId="21474836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536364244" sldId="21474836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352043404" sldId="21474836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599180661" sldId="21474836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766343253" sldId="21474837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435809511" sldId="21474837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78668447" sldId="21474837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158595996" sldId="21474837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518048172" sldId="21474837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64689700" sldId="21474837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514641027" sldId="21474837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371652487" sldId="21474837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874621708" sldId="21474837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613063930" sldId="21474837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447489127" sldId="21474837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43919659" sldId="21474837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221815894" sldId="21474837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58391802" sldId="21474837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857990718" sldId="21474837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683122268" sldId="21474837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962782124" sldId="21474837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735806374" sldId="21474837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856117062" sldId="2147485450"/>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437822802" sldId="2147483660"/>
            <pc:sldLayoutMk cId="1541170259" sldId="2147485482"/>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1816622894" sldId="2147483729"/>
        </pc:sldMasterMkLst>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779139161" sldId="214748373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85904730" sldId="21474837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203381148" sldId="21474837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81567348" sldId="21474837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933578411" sldId="214748373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77776968" sldId="21474837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9779501" sldId="21474837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197565818" sldId="21474837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31752468" sldId="21474837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99832516" sldId="21474837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382010919" sldId="21474837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935722720" sldId="21474837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9977224" sldId="21474837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847053540" sldId="21474837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05610499" sldId="214748374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767021985" sldId="214748374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804072801" sldId="214748374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747254922" sldId="21474837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175686975" sldId="21474837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675669758" sldId="214748375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81619161" sldId="21474837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17911832" sldId="21474837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36733940" sldId="21474837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996943212" sldId="214748375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393156198" sldId="214748375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988926526" sldId="214748375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21681205" sldId="214748375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34279273" sldId="214748375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024984562" sldId="21474837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528308329" sldId="21474837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140425676" sldId="21474837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02684742" sldId="21474837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710548721" sldId="21474837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94810181" sldId="21474837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455529529" sldId="21474837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206112652" sldId="21474837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32454816" sldId="21474837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91822624" sldId="21474837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83782463" sldId="21474837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0634040" sldId="21474837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709871958" sldId="21474837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44860211" sldId="21474838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59014320" sldId="21474838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14999626" sldId="21474838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67297009" sldId="21474838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700274849" sldId="21474838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988181498" sldId="21474838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473600211" sldId="21474838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434820222" sldId="21474838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84881441" sldId="21474838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72438077" sldId="21474838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305029478" sldId="21474838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360396620" sldId="21474838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636538665" sldId="21474838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27972980" sldId="21474838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377848605" sldId="21474838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132618943" sldId="2147483874"/>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3345353608" sldId="2147483796"/>
        </pc:sldMasterMkLst>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690282096" sldId="21474837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771992962" sldId="21474837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50592213" sldId="21474837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590499493" sldId="21474838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281458384" sldId="2147483801"/>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1365024407" sldId="21474838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389265559" sldId="21474838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738674178" sldId="21474838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4021737882" sldId="21474838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659319654" sldId="21474838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507591385" sldId="21474838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728252832" sldId="21474838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364290150" sldId="21474838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253907887" sldId="21474838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955600839" sldId="21474838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018759523" sldId="2147483812"/>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87097872" sldId="21474838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939714316" sldId="21474846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486941184" sldId="21474851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346855837" sldId="21474854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4047821516" sldId="21474854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540710842" sldId="21474854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801606196" sldId="2147485487"/>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2855736988" sldId="21474854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830707994" sldId="21474854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766336660" sldId="21474854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951609887" sldId="21474854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566174447" sldId="214748549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262605547" sldId="214748549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340864344" sldId="21474854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958071774" sldId="21474854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732124973" sldId="21474854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550043554" sldId="21474854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853213149" sldId="2147485498"/>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3410354753" sldId="21474854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828157548" sldId="21474855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930658324" sldId="21474855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139353340" sldId="21474855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373362043" sldId="21474855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562430234" sldId="21474855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817751024" sldId="21474855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444379880" sldId="21474855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918741959" sldId="21474855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065112735" sldId="21474855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34014078" sldId="21474855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402030923" sldId="21474855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873527072" sldId="21474855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444791769" sldId="21474855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197070923" sldId="21474855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844681087" sldId="2147485514"/>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3588427678" sldId="2147484229"/>
        </pc:sldMasterMkLst>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531337368" sldId="21474842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97602530" sldId="21474842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482969643" sldId="21474842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925069136" sldId="21474842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27829922" sldId="21474845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50358238" sldId="21474845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43858526" sldId="21474846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849598128" sldId="21474846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307984548" sldId="21474846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774405555" sldId="21474846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545705601" sldId="21474846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48787845" sldId="21474846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32991965" sldId="21474847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948112344" sldId="21474848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51151599" sldId="21474848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335627901" sldId="21474848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390838193" sldId="21474848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725136582" sldId="21474848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46059488" sldId="21474848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842252135" sldId="21474848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474357050" sldId="21474848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572006585" sldId="21474849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533679714" sldId="21474849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61443602" sldId="21474849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03402083" sldId="21474849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096866871" sldId="21474849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624772569" sldId="21474849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82817732" sldId="21474849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45299928" sldId="21474849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96918344" sldId="21474849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993881619" sldId="21474849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1338459" sldId="21474849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796696161" sldId="21474849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049640092" sldId="21474849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88570195" sldId="21474850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008029859" sldId="21474851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243841037" sldId="21474851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978534164" sldId="21474851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656685275" sldId="21474851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206398337" sldId="21474851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450951373" sldId="21474851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61602646" sldId="21474851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67531690" sldId="21474851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074646849" sldId="21474851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05903995" sldId="21474851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65518951" sldId="21474851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010708830" sldId="21474851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484971770" sldId="21474851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39202642" sldId="21474851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572250010" sldId="21474851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0985706" sldId="21474851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492163246" sldId="21474852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085263328" sldId="21474852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382814170" sldId="21474852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174014229" sldId="21474852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94269841" sldId="21474852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983662292" sldId="21474852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09554101" sldId="21474852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586877803" sldId="21474852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307056970" sldId="21474852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69506150" sldId="21474852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48762195" sldId="21474852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60000897" sldId="21474852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40600232" sldId="21474852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705513893" sldId="21474852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781760910" sldId="21474852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83191568" sldId="21474852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948024928" sldId="214748522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782738769" sldId="214748522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056698369" sldId="214748522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769843300" sldId="214748522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56689268" sldId="214748522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328010877" sldId="21474855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9623298" sldId="21474855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50122956" sldId="21474855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080020719" sldId="21474855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10573651" sldId="214748552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304877450" sldId="21474855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925593987" sldId="21474855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24578158" sldId="21474855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65820359" sldId="214748552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705790192" sldId="214748552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68213402" sldId="214748552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864651430" sldId="2147485529"/>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231713050" sldId="2147485230"/>
        </pc:sldMasterMkLst>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759370060" sldId="214748523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237959798" sldId="214748523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183718048" sldId="21474852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708275438" sldId="21474852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588924843" sldId="21474852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45387182" sldId="214748523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89550993" sldId="21474852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845275516" sldId="21474852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565166107" sldId="21474852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8377034" sldId="21474852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2930499" sldId="21474852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816922357" sldId="21474852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933104114" sldId="21474852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417603122" sldId="21474852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099950877" sldId="21474852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656873702" sldId="214748524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60306623" sldId="214748524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1142302" sldId="214748524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416860764" sldId="21474852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946676125" sldId="21474852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217666942" sldId="214748525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413988018" sldId="21474852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913552250" sldId="21474852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793301925" sldId="21474852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385313585" sldId="214748525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554188487" sldId="214748525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07481627" sldId="214748525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976729320" sldId="214748525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127884996" sldId="214748525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03937098" sldId="21474852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210873687" sldId="21474852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766306111" sldId="21474852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657425138" sldId="21474852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257329113" sldId="21474852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102082751" sldId="21474852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663225083" sldId="21474852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102984483" sldId="21474852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860931540" sldId="21474852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449852014" sldId="21474852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14344815" sldId="21474852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869183193" sldId="21474852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673987256" sldId="21474852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769617070" sldId="21474852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801005881" sldId="21474852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629375025" sldId="21474852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779459926" sldId="21474852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763769425" sldId="21474852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714428594" sldId="2147485278"/>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1320675147" sldId="2147485279"/>
        </pc:sldMasterMkLst>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425025000" sldId="21474852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13932099" sldId="214748528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419443008" sldId="214748528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46510561" sldId="21474852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078721419" sldId="21474852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792323867" sldId="21474852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197857371" sldId="21474852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288717784" sldId="214748528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629167090" sldId="21474852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495699509" sldId="21474852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601040132" sldId="21474852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779562284" sldId="21474852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772647182" sldId="214748529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119281901" sldId="214748529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093740633" sldId="21474852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603625534" sldId="21474852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226583925" sldId="21474852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415746450" sldId="21474852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50837747" sldId="21474852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239845400" sldId="21474852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722439705" sldId="21474853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805899194" sldId="21474853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211387190" sldId="21474853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008773333" sldId="21474853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127001752" sldId="21474853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719443887" sldId="21474853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413233031" sldId="21474853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000879761" sldId="21474853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86850698" sldId="21474853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008479807" sldId="21474853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618123306" sldId="21474853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942388367" sldId="21474853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077915403" sldId="21474853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385892985" sldId="21474853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34785988" sldId="21474853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976033660" sldId="21474853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213592481" sldId="21474853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037033675" sldId="21474853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356297957" sldId="21474853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270290061" sldId="21474853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813789646" sldId="21474853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450532551" sldId="214748532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651244689" sldId="21474853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530821335" sldId="21474853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669747097" sldId="21474853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410878796" sldId="214748532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544608183" sldId="214748532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793250231" sldId="2147485327"/>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1058933271" sldId="2147485328"/>
        </pc:sldMasterMkLst>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454796186" sldId="214748532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16288227" sldId="214748533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61279602" sldId="214748533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69996842" sldId="214748533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20371789" sldId="21474853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632797438" sldId="21474853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386879534" sldId="21474853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252313371" sldId="214748533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607541185" sldId="21474853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45851977" sldId="21474853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96910617" sldId="21474853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111633661" sldId="21474853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041218750" sldId="21474853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552207369" sldId="21474853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239583370" sldId="21474853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989245947" sldId="21474853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50351246" sldId="21474853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51281252" sldId="214748534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136980886" sldId="214748534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282897692" sldId="214748534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893912160" sldId="21474853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884297400" sldId="21474853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024836015" sldId="214748535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893383933" sldId="21474853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890865510" sldId="21474853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98986024" sldId="21474853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411839415" sldId="214748535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025552807" sldId="214748535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938752282" sldId="214748535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906039561" sldId="214748535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591134792" sldId="214748535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52071220" sldId="21474853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587256275" sldId="21474853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004274104" sldId="21474853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10535894" sldId="21474853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940509486" sldId="21474853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99800320" sldId="21474853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34550868" sldId="21474853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051444566" sldId="21474853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75744062" sldId="21474853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391474425" sldId="21474853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79340448" sldId="21474853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644645913" sldId="21474853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478224320" sldId="21474853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537207837" sldId="21474853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099805507" sldId="21474853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621220964" sldId="21474853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36041282" sldId="21474853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36311947" sldId="21474853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53609397" sldId="214748537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505127158" sldId="214748537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40408974" sldId="21474853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302339406" sldId="214748538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49619996" sldId="214748538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805056184" sldId="21474853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469654235" sldId="21474853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808557522" sldId="21474853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347293217" sldId="21474853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478462109" sldId="214748538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43747499" sldId="21474853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273065839" sldId="21474853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241530769" sldId="21474853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88699525" sldId="21474853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935439748" sldId="2147485392"/>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864412662" sldId="2147485393"/>
        </pc:sldMasterMkLst>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363737685" sldId="21474853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77156931" sldId="21474853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394115975" sldId="21474853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883980467" sldId="21474853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825554083" sldId="21474853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09869377" sldId="21474853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388521409" sldId="21474854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459101948" sldId="21474854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253405411" sldId="21474854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732266941" sldId="21474854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663450639" sldId="21474854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397935885" sldId="21474854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4042068354" sldId="21474854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192607742" sldId="21474854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800138155" sldId="21474854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272487307" sldId="21474854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120396667" sldId="21474854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634686260" sldId="21474854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228394321" sldId="21474854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39574532" sldId="21474854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588778180" sldId="21474854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273195254" sldId="21474854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787252274" sldId="21474854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717157973" sldId="21474854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814509886" sldId="21474854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994387304" sldId="21474854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89432639" sldId="21474854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034533037" sldId="214748542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242033336" sldId="2147485422"/>
          </pc:sldLayoutMkLst>
        </pc:sldLayoutChg>
      </pc:sldMasterChg>
      <pc:sldMasterChg chg="add mod setBg addSldLayout modSldLayout">
        <pc:chgData name="Maya Ryom (Allegis Group Services)" userId="S::a-mayaryom@microsoft.com::1eea4cee-ae01-4369-84a7-cd305b70b8b4" providerId="AD" clId="Web-{2360F22A-92CD-AC80-D79C-C165CD67D680}" dt="2025-03-19T09:02:42.577" v="45"/>
        <pc:sldMasterMkLst>
          <pc:docMk/>
          <pc:sldMasterMk cId="1816622894" sldId="2147485530"/>
        </pc:sldMasterMkLst>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779139161" sldId="214748553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988181498" sldId="214748553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473600211" sldId="214748553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933578411" sldId="214748553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77776968" sldId="214748553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434820222" sldId="214748553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44860211" sldId="214748553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59014320" sldId="214748553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14999626" sldId="214748553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67297009" sldId="214748554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132618943" sldId="214748554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84881441" sldId="214748554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700274849" sldId="214748554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72438077" sldId="214748554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305029478" sldId="214748554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360396620" sldId="214748554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636538665" sldId="214748554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27972980" sldId="214748554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377848605" sldId="214748554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203381148" sldId="214748555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85904730" sldId="214748555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81567348" sldId="214748555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9779501" sldId="214748555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197565818" sldId="214748555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31752468" sldId="214748555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99832516" sldId="214748555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382010919" sldId="214748555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935722720" sldId="214748555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9977224" sldId="214748555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847053540" sldId="214748556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05610499" sldId="214748556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767021985" sldId="214748556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804072801" sldId="214748556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747254922" sldId="214748556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175686975" sldId="214748556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675669758" sldId="214748556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81619161" sldId="214748556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17911832" sldId="214748556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36733940" sldId="214748556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996943212" sldId="214748557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393156198" sldId="214748557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988926526" sldId="214748557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21681205" sldId="214748557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34279273" sldId="214748557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024984562" sldId="214748557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528308329" sldId="214748557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140425676" sldId="214748557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02684742" sldId="214748557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710548721" sldId="214748557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94810181" sldId="214748558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455529529" sldId="214748558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206112652" sldId="214748558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32454816" sldId="214748558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91822624" sldId="214748558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83782463" sldId="214748558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0634040" sldId="214748558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709871958" sldId="2147485587"/>
          </pc:sldLayoutMkLst>
        </pc:sldLayoutChg>
      </pc:sldMasterChg>
    </pc:docChg>
  </pc:docChgLst>
  <pc:docChgLst>
    <pc:chgData name="Kennie Pontoppidan" userId="0b66d239-c77c-454e-82ce-695a270d63fb" providerId="ADAL" clId="{8134002F-F1E2-4BA3-BA34-60C27907B015}"/>
    <pc:docChg chg="undo custSel addSld delSld modSld sldOrd delMainMaster addSection delSection modSection">
      <pc:chgData name="Kennie Pontoppidan" userId="0b66d239-c77c-454e-82ce-695a270d63fb" providerId="ADAL" clId="{8134002F-F1E2-4BA3-BA34-60C27907B015}" dt="2025-04-07T23:23:28.643" v="594" actId="400"/>
      <pc:docMkLst>
        <pc:docMk/>
      </pc:docMkLst>
      <pc:sldChg chg="add">
        <pc:chgData name="Kennie Pontoppidan" userId="0b66d239-c77c-454e-82ce-695a270d63fb" providerId="ADAL" clId="{8134002F-F1E2-4BA3-BA34-60C27907B015}" dt="2025-04-06T20:37:51.871" v="410"/>
        <pc:sldMkLst>
          <pc:docMk/>
          <pc:sldMk cId="370803781" sldId="261"/>
        </pc:sldMkLst>
      </pc:sldChg>
      <pc:sldChg chg="add">
        <pc:chgData name="Kennie Pontoppidan" userId="0b66d239-c77c-454e-82ce-695a270d63fb" providerId="ADAL" clId="{8134002F-F1E2-4BA3-BA34-60C27907B015}" dt="2025-04-06T20:51:58.643" v="531"/>
        <pc:sldMkLst>
          <pc:docMk/>
          <pc:sldMk cId="1372730400" sldId="312"/>
        </pc:sldMkLst>
      </pc:sldChg>
      <pc:sldChg chg="modSp mod">
        <pc:chgData name="Kennie Pontoppidan" userId="0b66d239-c77c-454e-82ce-695a270d63fb" providerId="ADAL" clId="{8134002F-F1E2-4BA3-BA34-60C27907B015}" dt="2025-04-06T20:51:22.419" v="530" actId="20577"/>
        <pc:sldMkLst>
          <pc:docMk/>
          <pc:sldMk cId="426918691" sldId="2076138216"/>
        </pc:sldMkLst>
        <pc:spChg chg="mod">
          <ac:chgData name="Kennie Pontoppidan" userId="0b66d239-c77c-454e-82ce-695a270d63fb" providerId="ADAL" clId="{8134002F-F1E2-4BA3-BA34-60C27907B015}" dt="2025-04-06T20:51:22.419" v="530" actId="20577"/>
          <ac:spMkLst>
            <pc:docMk/>
            <pc:sldMk cId="426918691" sldId="2076138216"/>
            <ac:spMk id="6" creationId="{460D15DF-EF97-44E8-BCDF-D3F111A97291}"/>
          </ac:spMkLst>
        </pc:spChg>
      </pc:sldChg>
      <pc:sldChg chg="modSp mod">
        <pc:chgData name="Kennie Pontoppidan" userId="0b66d239-c77c-454e-82ce-695a270d63fb" providerId="ADAL" clId="{8134002F-F1E2-4BA3-BA34-60C27907B015}" dt="2025-04-07T23:23:28.643" v="594" actId="400"/>
        <pc:sldMkLst>
          <pc:docMk/>
          <pc:sldMk cId="2501024343" sldId="2076138253"/>
        </pc:sldMkLst>
        <pc:spChg chg="mod">
          <ac:chgData name="Kennie Pontoppidan" userId="0b66d239-c77c-454e-82ce-695a270d63fb" providerId="ADAL" clId="{8134002F-F1E2-4BA3-BA34-60C27907B015}" dt="2025-04-07T23:23:28.643" v="594" actId="400"/>
          <ac:spMkLst>
            <pc:docMk/>
            <pc:sldMk cId="2501024343" sldId="2076138253"/>
            <ac:spMk id="5" creationId="{00000000-0000-0000-0000-000000000000}"/>
          </ac:spMkLst>
        </pc:spChg>
        <pc:spChg chg="mod">
          <ac:chgData name="Kennie Pontoppidan" userId="0b66d239-c77c-454e-82ce-695a270d63fb" providerId="ADAL" clId="{8134002F-F1E2-4BA3-BA34-60C27907B015}" dt="2025-04-01T12:26:34.546" v="4" actId="20577"/>
          <ac:spMkLst>
            <pc:docMk/>
            <pc:sldMk cId="2501024343" sldId="2076138253"/>
            <ac:spMk id="7" creationId="{9B99A9B6-3F8A-938D-7CA2-A3101C08D350}"/>
          </ac:spMkLst>
        </pc:spChg>
      </pc:sldChg>
      <pc:sldChg chg="del">
        <pc:chgData name="Kennie Pontoppidan" userId="0b66d239-c77c-454e-82ce-695a270d63fb" providerId="ADAL" clId="{8134002F-F1E2-4BA3-BA34-60C27907B015}" dt="2025-04-01T12:28:13.080" v="42" actId="47"/>
        <pc:sldMkLst>
          <pc:docMk/>
          <pc:sldMk cId="1802057085" sldId="2147477949"/>
        </pc:sldMkLst>
      </pc:sldChg>
      <pc:sldChg chg="add">
        <pc:chgData name="Kennie Pontoppidan" userId="0b66d239-c77c-454e-82ce-695a270d63fb" providerId="ADAL" clId="{8134002F-F1E2-4BA3-BA34-60C27907B015}" dt="2025-04-06T19:41:35.475" v="143"/>
        <pc:sldMkLst>
          <pc:docMk/>
          <pc:sldMk cId="3519608088" sldId="2147481085"/>
        </pc:sldMkLst>
      </pc:sldChg>
      <pc:sldChg chg="del">
        <pc:chgData name="Kennie Pontoppidan" userId="0b66d239-c77c-454e-82ce-695a270d63fb" providerId="ADAL" clId="{8134002F-F1E2-4BA3-BA34-60C27907B015}" dt="2025-04-01T12:28:25.440" v="45" actId="18676"/>
        <pc:sldMkLst>
          <pc:docMk/>
          <pc:sldMk cId="2331427682" sldId="2147482010"/>
        </pc:sldMkLst>
      </pc:sldChg>
      <pc:sldChg chg="del">
        <pc:chgData name="Kennie Pontoppidan" userId="0b66d239-c77c-454e-82ce-695a270d63fb" providerId="ADAL" clId="{8134002F-F1E2-4BA3-BA34-60C27907B015}" dt="2025-04-01T12:28:25.440" v="45" actId="18676"/>
        <pc:sldMkLst>
          <pc:docMk/>
          <pc:sldMk cId="2630731566" sldId="2147482020"/>
        </pc:sldMkLst>
      </pc:sldChg>
      <pc:sldChg chg="del">
        <pc:chgData name="Kennie Pontoppidan" userId="0b66d239-c77c-454e-82ce-695a270d63fb" providerId="ADAL" clId="{8134002F-F1E2-4BA3-BA34-60C27907B015}" dt="2025-04-01T12:28:23.286" v="44" actId="18676"/>
        <pc:sldMkLst>
          <pc:docMk/>
          <pc:sldMk cId="541705985" sldId="2147482021"/>
        </pc:sldMkLst>
      </pc:sldChg>
      <pc:sldChg chg="add del">
        <pc:chgData name="Kennie Pontoppidan" userId="0b66d239-c77c-454e-82ce-695a270d63fb" providerId="ADAL" clId="{8134002F-F1E2-4BA3-BA34-60C27907B015}" dt="2025-04-06T20:43:20.068" v="460"/>
        <pc:sldMkLst>
          <pc:docMk/>
          <pc:sldMk cId="2809818169" sldId="2147482022"/>
        </pc:sldMkLst>
      </pc:sldChg>
      <pc:sldChg chg="del">
        <pc:chgData name="Kennie Pontoppidan" userId="0b66d239-c77c-454e-82ce-695a270d63fb" providerId="ADAL" clId="{8134002F-F1E2-4BA3-BA34-60C27907B015}" dt="2025-04-01T12:28:23.286" v="44" actId="18676"/>
        <pc:sldMkLst>
          <pc:docMk/>
          <pc:sldMk cId="894318118" sldId="2147482023"/>
        </pc:sldMkLst>
      </pc:sldChg>
      <pc:sldChg chg="add del">
        <pc:chgData name="Kennie Pontoppidan" userId="0b66d239-c77c-454e-82ce-695a270d63fb" providerId="ADAL" clId="{8134002F-F1E2-4BA3-BA34-60C27907B015}" dt="2025-04-06T20:43:20.068" v="460"/>
        <pc:sldMkLst>
          <pc:docMk/>
          <pc:sldMk cId="1109667482" sldId="2147482023"/>
        </pc:sldMkLst>
      </pc:sldChg>
      <pc:sldChg chg="add del">
        <pc:chgData name="Kennie Pontoppidan" userId="0b66d239-c77c-454e-82ce-695a270d63fb" providerId="ADAL" clId="{8134002F-F1E2-4BA3-BA34-60C27907B015}" dt="2025-04-06T20:43:20.068" v="460"/>
        <pc:sldMkLst>
          <pc:docMk/>
          <pc:sldMk cId="3519104244" sldId="2147482024"/>
        </pc:sldMkLst>
      </pc:sldChg>
      <pc:sldChg chg="del">
        <pc:chgData name="Kennie Pontoppidan" userId="0b66d239-c77c-454e-82ce-695a270d63fb" providerId="ADAL" clId="{8134002F-F1E2-4BA3-BA34-60C27907B015}" dt="2025-04-01T12:28:23.286" v="44" actId="18676"/>
        <pc:sldMkLst>
          <pc:docMk/>
          <pc:sldMk cId="347357363" sldId="2147482025"/>
        </pc:sldMkLst>
      </pc:sldChg>
      <pc:sldChg chg="add del">
        <pc:chgData name="Kennie Pontoppidan" userId="0b66d239-c77c-454e-82ce-695a270d63fb" providerId="ADAL" clId="{8134002F-F1E2-4BA3-BA34-60C27907B015}" dt="2025-04-06T20:43:20.068" v="460"/>
        <pc:sldMkLst>
          <pc:docMk/>
          <pc:sldMk cId="4118627898" sldId="2147482025"/>
        </pc:sldMkLst>
      </pc:sldChg>
      <pc:sldChg chg="add del">
        <pc:chgData name="Kennie Pontoppidan" userId="0b66d239-c77c-454e-82ce-695a270d63fb" providerId="ADAL" clId="{8134002F-F1E2-4BA3-BA34-60C27907B015}" dt="2025-04-06T20:43:20.068" v="460"/>
        <pc:sldMkLst>
          <pc:docMk/>
          <pc:sldMk cId="649060639" sldId="2147482026"/>
        </pc:sldMkLst>
      </pc:sldChg>
      <pc:sldChg chg="del">
        <pc:chgData name="Kennie Pontoppidan" userId="0b66d239-c77c-454e-82ce-695a270d63fb" providerId="ADAL" clId="{8134002F-F1E2-4BA3-BA34-60C27907B015}" dt="2025-04-01T12:28:23.286" v="44" actId="18676"/>
        <pc:sldMkLst>
          <pc:docMk/>
          <pc:sldMk cId="1050420302" sldId="2147482026"/>
        </pc:sldMkLst>
      </pc:sldChg>
      <pc:sldChg chg="add del">
        <pc:chgData name="Kennie Pontoppidan" userId="0b66d239-c77c-454e-82ce-695a270d63fb" providerId="ADAL" clId="{8134002F-F1E2-4BA3-BA34-60C27907B015}" dt="2025-04-06T20:43:20.068" v="460"/>
        <pc:sldMkLst>
          <pc:docMk/>
          <pc:sldMk cId="1750123413" sldId="2147482027"/>
        </pc:sldMkLst>
      </pc:sldChg>
      <pc:sldChg chg="add del">
        <pc:chgData name="Kennie Pontoppidan" userId="0b66d239-c77c-454e-82ce-695a270d63fb" providerId="ADAL" clId="{8134002F-F1E2-4BA3-BA34-60C27907B015}" dt="2025-04-06T20:47:28.074" v="519" actId="47"/>
        <pc:sldMkLst>
          <pc:docMk/>
          <pc:sldMk cId="2418391003" sldId="2147482028"/>
        </pc:sldMkLst>
      </pc:sldChg>
      <pc:sldChg chg="del">
        <pc:chgData name="Kennie Pontoppidan" userId="0b66d239-c77c-454e-82ce-695a270d63fb" providerId="ADAL" clId="{8134002F-F1E2-4BA3-BA34-60C27907B015}" dt="2025-04-01T12:28:20.100" v="43" actId="18676"/>
        <pc:sldMkLst>
          <pc:docMk/>
          <pc:sldMk cId="2824698492" sldId="2147482028"/>
        </pc:sldMkLst>
      </pc:sldChg>
      <pc:sldChg chg="add del">
        <pc:chgData name="Kennie Pontoppidan" userId="0b66d239-c77c-454e-82ce-695a270d63fb" providerId="ADAL" clId="{8134002F-F1E2-4BA3-BA34-60C27907B015}" dt="2025-04-06T20:43:20.068" v="460"/>
        <pc:sldMkLst>
          <pc:docMk/>
          <pc:sldMk cId="915241248" sldId="2147482029"/>
        </pc:sldMkLst>
      </pc:sldChg>
      <pc:sldChg chg="del">
        <pc:chgData name="Kennie Pontoppidan" userId="0b66d239-c77c-454e-82ce-695a270d63fb" providerId="ADAL" clId="{8134002F-F1E2-4BA3-BA34-60C27907B015}" dt="2025-04-01T12:28:20.100" v="43" actId="18676"/>
        <pc:sldMkLst>
          <pc:docMk/>
          <pc:sldMk cId="2902480803" sldId="2147482029"/>
        </pc:sldMkLst>
      </pc:sldChg>
      <pc:sldChg chg="add">
        <pc:chgData name="Kennie Pontoppidan" userId="0b66d239-c77c-454e-82ce-695a270d63fb" providerId="ADAL" clId="{8134002F-F1E2-4BA3-BA34-60C27907B015}" dt="2025-04-06T20:50:50.283" v="525"/>
        <pc:sldMkLst>
          <pc:docMk/>
          <pc:sldMk cId="3911069928" sldId="2147482030"/>
        </pc:sldMkLst>
      </pc:sldChg>
      <pc:sldChg chg="add del">
        <pc:chgData name="Kennie Pontoppidan" userId="0b66d239-c77c-454e-82ce-695a270d63fb" providerId="ADAL" clId="{8134002F-F1E2-4BA3-BA34-60C27907B015}" dt="2025-04-06T20:43:20.068" v="460"/>
        <pc:sldMkLst>
          <pc:docMk/>
          <pc:sldMk cId="649282010" sldId="2147482031"/>
        </pc:sldMkLst>
      </pc:sldChg>
      <pc:sldChg chg="add del">
        <pc:chgData name="Kennie Pontoppidan" userId="0b66d239-c77c-454e-82ce-695a270d63fb" providerId="ADAL" clId="{8134002F-F1E2-4BA3-BA34-60C27907B015}" dt="2025-04-06T20:43:20.068" v="460"/>
        <pc:sldMkLst>
          <pc:docMk/>
          <pc:sldMk cId="1387551986" sldId="2147482032"/>
        </pc:sldMkLst>
      </pc:sldChg>
      <pc:sldChg chg="del">
        <pc:chgData name="Kennie Pontoppidan" userId="0b66d239-c77c-454e-82ce-695a270d63fb" providerId="ADAL" clId="{8134002F-F1E2-4BA3-BA34-60C27907B015}" dt="2025-04-01T12:28:25.440" v="45" actId="18676"/>
        <pc:sldMkLst>
          <pc:docMk/>
          <pc:sldMk cId="1094840587" sldId="2147482033"/>
        </pc:sldMkLst>
      </pc:sldChg>
      <pc:sldChg chg="add del">
        <pc:chgData name="Kennie Pontoppidan" userId="0b66d239-c77c-454e-82ce-695a270d63fb" providerId="ADAL" clId="{8134002F-F1E2-4BA3-BA34-60C27907B015}" dt="2025-04-06T20:43:20.068" v="460"/>
        <pc:sldMkLst>
          <pc:docMk/>
          <pc:sldMk cId="2847869428" sldId="2147482033"/>
        </pc:sldMkLst>
      </pc:sldChg>
      <pc:sldChg chg="add del">
        <pc:chgData name="Kennie Pontoppidan" userId="0b66d239-c77c-454e-82ce-695a270d63fb" providerId="ADAL" clId="{8134002F-F1E2-4BA3-BA34-60C27907B015}" dt="2025-04-06T20:43:20.068" v="460"/>
        <pc:sldMkLst>
          <pc:docMk/>
          <pc:sldMk cId="3943233503" sldId="2147482034"/>
        </pc:sldMkLst>
      </pc:sldChg>
      <pc:sldChg chg="del">
        <pc:chgData name="Kennie Pontoppidan" userId="0b66d239-c77c-454e-82ce-695a270d63fb" providerId="ADAL" clId="{8134002F-F1E2-4BA3-BA34-60C27907B015}" dt="2025-04-01T12:28:25.440" v="45" actId="18676"/>
        <pc:sldMkLst>
          <pc:docMk/>
          <pc:sldMk cId="453140699" sldId="2147482035"/>
        </pc:sldMkLst>
      </pc:sldChg>
      <pc:sldChg chg="add">
        <pc:chgData name="Kennie Pontoppidan" userId="0b66d239-c77c-454e-82ce-695a270d63fb" providerId="ADAL" clId="{8134002F-F1E2-4BA3-BA34-60C27907B015}" dt="2025-04-06T19:41:35.475" v="143"/>
        <pc:sldMkLst>
          <pc:docMk/>
          <pc:sldMk cId="817498729" sldId="2147482035"/>
        </pc:sldMkLst>
      </pc:sldChg>
      <pc:sldChg chg="add">
        <pc:chgData name="Kennie Pontoppidan" userId="0b66d239-c77c-454e-82ce-695a270d63fb" providerId="ADAL" clId="{8134002F-F1E2-4BA3-BA34-60C27907B015}" dt="2025-04-06T20:50:50.283" v="525"/>
        <pc:sldMkLst>
          <pc:docMk/>
          <pc:sldMk cId="1265309219" sldId="2147482036"/>
        </pc:sldMkLst>
      </pc:sldChg>
      <pc:sldChg chg="del">
        <pc:chgData name="Kennie Pontoppidan" userId="0b66d239-c77c-454e-82ce-695a270d63fb" providerId="ADAL" clId="{8134002F-F1E2-4BA3-BA34-60C27907B015}" dt="2025-04-01T12:28:25.440" v="45" actId="18676"/>
        <pc:sldMkLst>
          <pc:docMk/>
          <pc:sldMk cId="679275941" sldId="2147482037"/>
        </pc:sldMkLst>
      </pc:sldChg>
      <pc:sldChg chg="add">
        <pc:chgData name="Kennie Pontoppidan" userId="0b66d239-c77c-454e-82ce-695a270d63fb" providerId="ADAL" clId="{8134002F-F1E2-4BA3-BA34-60C27907B015}" dt="2025-04-06T20:50:50.283" v="525"/>
        <pc:sldMkLst>
          <pc:docMk/>
          <pc:sldMk cId="3106111326" sldId="2147482037"/>
        </pc:sldMkLst>
      </pc:sldChg>
      <pc:sldChg chg="add">
        <pc:chgData name="Kennie Pontoppidan" userId="0b66d239-c77c-454e-82ce-695a270d63fb" providerId="ADAL" clId="{8134002F-F1E2-4BA3-BA34-60C27907B015}" dt="2025-04-06T20:50:50.283" v="525"/>
        <pc:sldMkLst>
          <pc:docMk/>
          <pc:sldMk cId="420813227" sldId="2147482038"/>
        </pc:sldMkLst>
      </pc:sldChg>
      <pc:sldChg chg="del">
        <pc:chgData name="Kennie Pontoppidan" userId="0b66d239-c77c-454e-82ce-695a270d63fb" providerId="ADAL" clId="{8134002F-F1E2-4BA3-BA34-60C27907B015}" dt="2025-04-01T12:28:25.440" v="45" actId="18676"/>
        <pc:sldMkLst>
          <pc:docMk/>
          <pc:sldMk cId="2326236298" sldId="2147482038"/>
        </pc:sldMkLst>
      </pc:sldChg>
      <pc:sldChg chg="add">
        <pc:chgData name="Kennie Pontoppidan" userId="0b66d239-c77c-454e-82ce-695a270d63fb" providerId="ADAL" clId="{8134002F-F1E2-4BA3-BA34-60C27907B015}" dt="2025-04-06T20:50:50.283" v="525"/>
        <pc:sldMkLst>
          <pc:docMk/>
          <pc:sldMk cId="3826420070" sldId="2147482040"/>
        </pc:sldMkLst>
      </pc:sldChg>
      <pc:sldChg chg="del">
        <pc:chgData name="Kennie Pontoppidan" userId="0b66d239-c77c-454e-82ce-695a270d63fb" providerId="ADAL" clId="{8134002F-F1E2-4BA3-BA34-60C27907B015}" dt="2025-04-01T12:28:25.440" v="45" actId="18676"/>
        <pc:sldMkLst>
          <pc:docMk/>
          <pc:sldMk cId="4214686854" sldId="2147482040"/>
        </pc:sldMkLst>
      </pc:sldChg>
      <pc:sldChg chg="add">
        <pc:chgData name="Kennie Pontoppidan" userId="0b66d239-c77c-454e-82ce-695a270d63fb" providerId="ADAL" clId="{8134002F-F1E2-4BA3-BA34-60C27907B015}" dt="2025-04-06T20:50:50.283" v="525"/>
        <pc:sldMkLst>
          <pc:docMk/>
          <pc:sldMk cId="1511515348" sldId="2147482041"/>
        </pc:sldMkLst>
      </pc:sldChg>
      <pc:sldChg chg="del">
        <pc:chgData name="Kennie Pontoppidan" userId="0b66d239-c77c-454e-82ce-695a270d63fb" providerId="ADAL" clId="{8134002F-F1E2-4BA3-BA34-60C27907B015}" dt="2025-04-01T12:28:25.440" v="45" actId="18676"/>
        <pc:sldMkLst>
          <pc:docMk/>
          <pc:sldMk cId="2127214722" sldId="2147482041"/>
        </pc:sldMkLst>
      </pc:sldChg>
      <pc:sldChg chg="add">
        <pc:chgData name="Kennie Pontoppidan" userId="0b66d239-c77c-454e-82ce-695a270d63fb" providerId="ADAL" clId="{8134002F-F1E2-4BA3-BA34-60C27907B015}" dt="2025-04-06T20:50:50.283" v="525"/>
        <pc:sldMkLst>
          <pc:docMk/>
          <pc:sldMk cId="2232361650" sldId="2147482042"/>
        </pc:sldMkLst>
      </pc:sldChg>
      <pc:sldChg chg="del">
        <pc:chgData name="Kennie Pontoppidan" userId="0b66d239-c77c-454e-82ce-695a270d63fb" providerId="ADAL" clId="{8134002F-F1E2-4BA3-BA34-60C27907B015}" dt="2025-04-01T12:28:27.598" v="46" actId="18676"/>
        <pc:sldMkLst>
          <pc:docMk/>
          <pc:sldMk cId="2731922386" sldId="2147482042"/>
        </pc:sldMkLst>
      </pc:sldChg>
      <pc:sldChg chg="del">
        <pc:chgData name="Kennie Pontoppidan" userId="0b66d239-c77c-454e-82ce-695a270d63fb" providerId="ADAL" clId="{8134002F-F1E2-4BA3-BA34-60C27907B015}" dt="2025-04-01T12:28:20.100" v="43" actId="18676"/>
        <pc:sldMkLst>
          <pc:docMk/>
          <pc:sldMk cId="633283706" sldId="2147482043"/>
        </pc:sldMkLst>
      </pc:sldChg>
      <pc:sldChg chg="add">
        <pc:chgData name="Kennie Pontoppidan" userId="0b66d239-c77c-454e-82ce-695a270d63fb" providerId="ADAL" clId="{8134002F-F1E2-4BA3-BA34-60C27907B015}" dt="2025-04-06T20:50:50.283" v="525"/>
        <pc:sldMkLst>
          <pc:docMk/>
          <pc:sldMk cId="2420339997" sldId="2147482043"/>
        </pc:sldMkLst>
      </pc:sldChg>
      <pc:sldChg chg="del">
        <pc:chgData name="Kennie Pontoppidan" userId="0b66d239-c77c-454e-82ce-695a270d63fb" providerId="ADAL" clId="{8134002F-F1E2-4BA3-BA34-60C27907B015}" dt="2025-04-01T12:28:23.286" v="44" actId="18676"/>
        <pc:sldMkLst>
          <pc:docMk/>
          <pc:sldMk cId="4075943723" sldId="2147482044"/>
        </pc:sldMkLst>
      </pc:sldChg>
      <pc:sldChg chg="del">
        <pc:chgData name="Kennie Pontoppidan" userId="0b66d239-c77c-454e-82ce-695a270d63fb" providerId="ADAL" clId="{8134002F-F1E2-4BA3-BA34-60C27907B015}" dt="2025-04-01T12:28:23.286" v="44" actId="18676"/>
        <pc:sldMkLst>
          <pc:docMk/>
          <pc:sldMk cId="696675019" sldId="2147482045"/>
        </pc:sldMkLst>
      </pc:sldChg>
      <pc:sldChg chg="add">
        <pc:chgData name="Kennie Pontoppidan" userId="0b66d239-c77c-454e-82ce-695a270d63fb" providerId="ADAL" clId="{8134002F-F1E2-4BA3-BA34-60C27907B015}" dt="2025-04-06T20:50:50.283" v="525"/>
        <pc:sldMkLst>
          <pc:docMk/>
          <pc:sldMk cId="834122137" sldId="2147482045"/>
        </pc:sldMkLst>
      </pc:sldChg>
      <pc:sldChg chg="add">
        <pc:chgData name="Kennie Pontoppidan" userId="0b66d239-c77c-454e-82ce-695a270d63fb" providerId="ADAL" clId="{8134002F-F1E2-4BA3-BA34-60C27907B015}" dt="2025-04-06T20:50:50.283" v="525"/>
        <pc:sldMkLst>
          <pc:docMk/>
          <pc:sldMk cId="3136281416" sldId="2147482046"/>
        </pc:sldMkLst>
      </pc:sldChg>
      <pc:sldChg chg="del">
        <pc:chgData name="Kennie Pontoppidan" userId="0b66d239-c77c-454e-82ce-695a270d63fb" providerId="ADAL" clId="{8134002F-F1E2-4BA3-BA34-60C27907B015}" dt="2025-04-01T12:28:20.100" v="43" actId="18676"/>
        <pc:sldMkLst>
          <pc:docMk/>
          <pc:sldMk cId="3510093453" sldId="2147482046"/>
        </pc:sldMkLst>
      </pc:sldChg>
      <pc:sldChg chg="add">
        <pc:chgData name="Kennie Pontoppidan" userId="0b66d239-c77c-454e-82ce-695a270d63fb" providerId="ADAL" clId="{8134002F-F1E2-4BA3-BA34-60C27907B015}" dt="2025-04-06T20:50:50.283" v="525"/>
        <pc:sldMkLst>
          <pc:docMk/>
          <pc:sldMk cId="614455479" sldId="2147482047"/>
        </pc:sldMkLst>
      </pc:sldChg>
      <pc:sldChg chg="add">
        <pc:chgData name="Kennie Pontoppidan" userId="0b66d239-c77c-454e-82ce-695a270d63fb" providerId="ADAL" clId="{8134002F-F1E2-4BA3-BA34-60C27907B015}" dt="2025-04-06T20:50:50.283" v="525"/>
        <pc:sldMkLst>
          <pc:docMk/>
          <pc:sldMk cId="2626973314" sldId="2147482048"/>
        </pc:sldMkLst>
      </pc:sldChg>
      <pc:sldChg chg="del">
        <pc:chgData name="Kennie Pontoppidan" userId="0b66d239-c77c-454e-82ce-695a270d63fb" providerId="ADAL" clId="{8134002F-F1E2-4BA3-BA34-60C27907B015}" dt="2025-04-01T12:28:27.598" v="46" actId="18676"/>
        <pc:sldMkLst>
          <pc:docMk/>
          <pc:sldMk cId="1321682794" sldId="2147482049"/>
        </pc:sldMkLst>
      </pc:sldChg>
      <pc:sldChg chg="add">
        <pc:chgData name="Kennie Pontoppidan" userId="0b66d239-c77c-454e-82ce-695a270d63fb" providerId="ADAL" clId="{8134002F-F1E2-4BA3-BA34-60C27907B015}" dt="2025-04-06T20:50:50.283" v="525"/>
        <pc:sldMkLst>
          <pc:docMk/>
          <pc:sldMk cId="1456875033" sldId="2147482049"/>
        </pc:sldMkLst>
      </pc:sldChg>
      <pc:sldChg chg="add">
        <pc:chgData name="Kennie Pontoppidan" userId="0b66d239-c77c-454e-82ce-695a270d63fb" providerId="ADAL" clId="{8134002F-F1E2-4BA3-BA34-60C27907B015}" dt="2025-04-06T20:50:50.283" v="525"/>
        <pc:sldMkLst>
          <pc:docMk/>
          <pc:sldMk cId="3143250118" sldId="2147482050"/>
        </pc:sldMkLst>
      </pc:sldChg>
      <pc:sldChg chg="add">
        <pc:chgData name="Kennie Pontoppidan" userId="0b66d239-c77c-454e-82ce-695a270d63fb" providerId="ADAL" clId="{8134002F-F1E2-4BA3-BA34-60C27907B015}" dt="2025-04-06T20:50:50.283" v="525"/>
        <pc:sldMkLst>
          <pc:docMk/>
          <pc:sldMk cId="2636786537" sldId="2147482051"/>
        </pc:sldMkLst>
      </pc:sldChg>
      <pc:sldChg chg="add">
        <pc:chgData name="Kennie Pontoppidan" userId="0b66d239-c77c-454e-82ce-695a270d63fb" providerId="ADAL" clId="{8134002F-F1E2-4BA3-BA34-60C27907B015}" dt="2025-04-06T20:46:20.433" v="517"/>
        <pc:sldMkLst>
          <pc:docMk/>
          <pc:sldMk cId="3862231183" sldId="2147482056"/>
        </pc:sldMkLst>
      </pc:sldChg>
      <pc:sldChg chg="add">
        <pc:chgData name="Kennie Pontoppidan" userId="0b66d239-c77c-454e-82ce-695a270d63fb" providerId="ADAL" clId="{8134002F-F1E2-4BA3-BA34-60C27907B015}" dt="2025-04-06T20:46:20.433" v="517"/>
        <pc:sldMkLst>
          <pc:docMk/>
          <pc:sldMk cId="678904556" sldId="2147482057"/>
        </pc:sldMkLst>
      </pc:sldChg>
      <pc:sldChg chg="add">
        <pc:chgData name="Kennie Pontoppidan" userId="0b66d239-c77c-454e-82ce-695a270d63fb" providerId="ADAL" clId="{8134002F-F1E2-4BA3-BA34-60C27907B015}" dt="2025-04-06T20:46:20.433" v="517"/>
        <pc:sldMkLst>
          <pc:docMk/>
          <pc:sldMk cId="4044885154" sldId="2147482058"/>
        </pc:sldMkLst>
      </pc:sldChg>
      <pc:sldChg chg="add">
        <pc:chgData name="Kennie Pontoppidan" userId="0b66d239-c77c-454e-82ce-695a270d63fb" providerId="ADAL" clId="{8134002F-F1E2-4BA3-BA34-60C27907B015}" dt="2025-04-06T20:46:20.433" v="517"/>
        <pc:sldMkLst>
          <pc:docMk/>
          <pc:sldMk cId="926675427" sldId="2147482059"/>
        </pc:sldMkLst>
      </pc:sldChg>
      <pc:sldChg chg="add">
        <pc:chgData name="Kennie Pontoppidan" userId="0b66d239-c77c-454e-82ce-695a270d63fb" providerId="ADAL" clId="{8134002F-F1E2-4BA3-BA34-60C27907B015}" dt="2025-04-06T20:46:20.433" v="517"/>
        <pc:sldMkLst>
          <pc:docMk/>
          <pc:sldMk cId="1171538797" sldId="2147482060"/>
        </pc:sldMkLst>
      </pc:sldChg>
      <pc:sldChg chg="add">
        <pc:chgData name="Kennie Pontoppidan" userId="0b66d239-c77c-454e-82ce-695a270d63fb" providerId="ADAL" clId="{8134002F-F1E2-4BA3-BA34-60C27907B015}" dt="2025-04-06T20:46:20.433" v="517"/>
        <pc:sldMkLst>
          <pc:docMk/>
          <pc:sldMk cId="781374845" sldId="2147482061"/>
        </pc:sldMkLst>
      </pc:sldChg>
      <pc:sldChg chg="add">
        <pc:chgData name="Kennie Pontoppidan" userId="0b66d239-c77c-454e-82ce-695a270d63fb" providerId="ADAL" clId="{8134002F-F1E2-4BA3-BA34-60C27907B015}" dt="2025-04-06T20:45:53.648" v="516"/>
        <pc:sldMkLst>
          <pc:docMk/>
          <pc:sldMk cId="2576006532" sldId="2147482062"/>
        </pc:sldMkLst>
      </pc:sldChg>
      <pc:sldChg chg="add del ord">
        <pc:chgData name="Kennie Pontoppidan" userId="0b66d239-c77c-454e-82ce-695a270d63fb" providerId="ADAL" clId="{8134002F-F1E2-4BA3-BA34-60C27907B015}" dt="2025-04-06T20:48:45.010" v="523"/>
        <pc:sldMkLst>
          <pc:docMk/>
          <pc:sldMk cId="897020611" sldId="2147482112"/>
        </pc:sldMkLst>
      </pc:sldChg>
      <pc:sldChg chg="add del ord">
        <pc:chgData name="Kennie Pontoppidan" userId="0b66d239-c77c-454e-82ce-695a270d63fb" providerId="ADAL" clId="{8134002F-F1E2-4BA3-BA34-60C27907B015}" dt="2025-04-06T20:48:45.010" v="523"/>
        <pc:sldMkLst>
          <pc:docMk/>
          <pc:sldMk cId="210025805" sldId="2147482115"/>
        </pc:sldMkLst>
      </pc:sldChg>
      <pc:sldChg chg="add del ord">
        <pc:chgData name="Kennie Pontoppidan" userId="0b66d239-c77c-454e-82ce-695a270d63fb" providerId="ADAL" clId="{8134002F-F1E2-4BA3-BA34-60C27907B015}" dt="2025-04-06T20:48:45.010" v="523"/>
        <pc:sldMkLst>
          <pc:docMk/>
          <pc:sldMk cId="2198144739" sldId="2147482116"/>
        </pc:sldMkLst>
      </pc:sldChg>
      <pc:sldChg chg="add del ord">
        <pc:chgData name="Kennie Pontoppidan" userId="0b66d239-c77c-454e-82ce-695a270d63fb" providerId="ADAL" clId="{8134002F-F1E2-4BA3-BA34-60C27907B015}" dt="2025-04-06T20:48:45.010" v="523"/>
        <pc:sldMkLst>
          <pc:docMk/>
          <pc:sldMk cId="1391204960" sldId="2147482118"/>
        </pc:sldMkLst>
      </pc:sldChg>
      <pc:sldChg chg="add del ord">
        <pc:chgData name="Kennie Pontoppidan" userId="0b66d239-c77c-454e-82ce-695a270d63fb" providerId="ADAL" clId="{8134002F-F1E2-4BA3-BA34-60C27907B015}" dt="2025-04-06T20:48:45.010" v="523"/>
        <pc:sldMkLst>
          <pc:docMk/>
          <pc:sldMk cId="726889123" sldId="2147482119"/>
        </pc:sldMkLst>
      </pc:sldChg>
      <pc:sldChg chg="add del ord">
        <pc:chgData name="Kennie Pontoppidan" userId="0b66d239-c77c-454e-82ce-695a270d63fb" providerId="ADAL" clId="{8134002F-F1E2-4BA3-BA34-60C27907B015}" dt="2025-04-06T20:48:45.010" v="523"/>
        <pc:sldMkLst>
          <pc:docMk/>
          <pc:sldMk cId="4261374650" sldId="2147482131"/>
        </pc:sldMkLst>
      </pc:sldChg>
      <pc:sldChg chg="add del ord">
        <pc:chgData name="Kennie Pontoppidan" userId="0b66d239-c77c-454e-82ce-695a270d63fb" providerId="ADAL" clId="{8134002F-F1E2-4BA3-BA34-60C27907B015}" dt="2025-04-06T20:48:45.010" v="523"/>
        <pc:sldMkLst>
          <pc:docMk/>
          <pc:sldMk cId="1740815326" sldId="2147482132"/>
        </pc:sldMkLst>
      </pc:sldChg>
      <pc:sldChg chg="add del ord">
        <pc:chgData name="Kennie Pontoppidan" userId="0b66d239-c77c-454e-82ce-695a270d63fb" providerId="ADAL" clId="{8134002F-F1E2-4BA3-BA34-60C27907B015}" dt="2025-04-06T20:48:45.010" v="523"/>
        <pc:sldMkLst>
          <pc:docMk/>
          <pc:sldMk cId="220933236" sldId="2147482133"/>
        </pc:sldMkLst>
      </pc:sldChg>
      <pc:sldChg chg="add del ord">
        <pc:chgData name="Kennie Pontoppidan" userId="0b66d239-c77c-454e-82ce-695a270d63fb" providerId="ADAL" clId="{8134002F-F1E2-4BA3-BA34-60C27907B015}" dt="2025-04-06T20:48:45.010" v="523"/>
        <pc:sldMkLst>
          <pc:docMk/>
          <pc:sldMk cId="2478022313" sldId="2147482134"/>
        </pc:sldMkLst>
      </pc:sldChg>
      <pc:sldChg chg="add del ord">
        <pc:chgData name="Kennie Pontoppidan" userId="0b66d239-c77c-454e-82ce-695a270d63fb" providerId="ADAL" clId="{8134002F-F1E2-4BA3-BA34-60C27907B015}" dt="2025-04-06T20:48:45.010" v="523"/>
        <pc:sldMkLst>
          <pc:docMk/>
          <pc:sldMk cId="1779719980" sldId="2147482135"/>
        </pc:sldMkLst>
      </pc:sldChg>
      <pc:sldChg chg="add ord">
        <pc:chgData name="Kennie Pontoppidan" userId="0b66d239-c77c-454e-82ce-695a270d63fb" providerId="ADAL" clId="{8134002F-F1E2-4BA3-BA34-60C27907B015}" dt="2025-04-06T20:48:45.010" v="523"/>
        <pc:sldMkLst>
          <pc:docMk/>
          <pc:sldMk cId="1598628869" sldId="2147482139"/>
        </pc:sldMkLst>
      </pc:sldChg>
      <pc:sldChg chg="add ord">
        <pc:chgData name="Kennie Pontoppidan" userId="0b66d239-c77c-454e-82ce-695a270d63fb" providerId="ADAL" clId="{8134002F-F1E2-4BA3-BA34-60C27907B015}" dt="2025-04-06T20:48:45.010" v="523"/>
        <pc:sldMkLst>
          <pc:docMk/>
          <pc:sldMk cId="2148031574" sldId="2147482140"/>
        </pc:sldMkLst>
      </pc:sldChg>
      <pc:sldChg chg="add ord">
        <pc:chgData name="Kennie Pontoppidan" userId="0b66d239-c77c-454e-82ce-695a270d63fb" providerId="ADAL" clId="{8134002F-F1E2-4BA3-BA34-60C27907B015}" dt="2025-04-06T20:48:45.010" v="523"/>
        <pc:sldMkLst>
          <pc:docMk/>
          <pc:sldMk cId="1565989651" sldId="2147482141"/>
        </pc:sldMkLst>
      </pc:sldChg>
      <pc:sldChg chg="add ord">
        <pc:chgData name="Kennie Pontoppidan" userId="0b66d239-c77c-454e-82ce-695a270d63fb" providerId="ADAL" clId="{8134002F-F1E2-4BA3-BA34-60C27907B015}" dt="2025-04-06T20:48:45.010" v="523"/>
        <pc:sldMkLst>
          <pc:docMk/>
          <pc:sldMk cId="1179334627" sldId="2147482145"/>
        </pc:sldMkLst>
      </pc:sldChg>
      <pc:sldChg chg="add ord">
        <pc:chgData name="Kennie Pontoppidan" userId="0b66d239-c77c-454e-82ce-695a270d63fb" providerId="ADAL" clId="{8134002F-F1E2-4BA3-BA34-60C27907B015}" dt="2025-04-06T20:48:45.010" v="523"/>
        <pc:sldMkLst>
          <pc:docMk/>
          <pc:sldMk cId="3555418900" sldId="2147482146"/>
        </pc:sldMkLst>
      </pc:sldChg>
      <pc:sldChg chg="add">
        <pc:chgData name="Kennie Pontoppidan" userId="0b66d239-c77c-454e-82ce-695a270d63fb" providerId="ADAL" clId="{8134002F-F1E2-4BA3-BA34-60C27907B015}" dt="2025-04-06T20:48:09.646" v="521"/>
        <pc:sldMkLst>
          <pc:docMk/>
          <pc:sldMk cId="844094924" sldId="2147482147"/>
        </pc:sldMkLst>
      </pc:sldChg>
      <pc:sldChg chg="add ord">
        <pc:chgData name="Kennie Pontoppidan" userId="0b66d239-c77c-454e-82ce-695a270d63fb" providerId="ADAL" clId="{8134002F-F1E2-4BA3-BA34-60C27907B015}" dt="2025-04-06T20:48:45.010" v="523"/>
        <pc:sldMkLst>
          <pc:docMk/>
          <pc:sldMk cId="2785555964" sldId="2147482149"/>
        </pc:sldMkLst>
      </pc:sldChg>
      <pc:sldChg chg="add ord">
        <pc:chgData name="Kennie Pontoppidan" userId="0b66d239-c77c-454e-82ce-695a270d63fb" providerId="ADAL" clId="{8134002F-F1E2-4BA3-BA34-60C27907B015}" dt="2025-04-06T20:48:45.010" v="523"/>
        <pc:sldMkLst>
          <pc:docMk/>
          <pc:sldMk cId="95784051" sldId="2147482150"/>
        </pc:sldMkLst>
      </pc:sldChg>
      <pc:sldChg chg="add ord">
        <pc:chgData name="Kennie Pontoppidan" userId="0b66d239-c77c-454e-82ce-695a270d63fb" providerId="ADAL" clId="{8134002F-F1E2-4BA3-BA34-60C27907B015}" dt="2025-04-06T20:48:45.010" v="523"/>
        <pc:sldMkLst>
          <pc:docMk/>
          <pc:sldMk cId="489190088" sldId="2147482151"/>
        </pc:sldMkLst>
      </pc:sldChg>
      <pc:sldChg chg="add ord">
        <pc:chgData name="Kennie Pontoppidan" userId="0b66d239-c77c-454e-82ce-695a270d63fb" providerId="ADAL" clId="{8134002F-F1E2-4BA3-BA34-60C27907B015}" dt="2025-04-06T20:48:45.010" v="523"/>
        <pc:sldMkLst>
          <pc:docMk/>
          <pc:sldMk cId="162981507" sldId="2147482154"/>
        </pc:sldMkLst>
      </pc:sldChg>
      <pc:sldChg chg="add ord">
        <pc:chgData name="Kennie Pontoppidan" userId="0b66d239-c77c-454e-82ce-695a270d63fb" providerId="ADAL" clId="{8134002F-F1E2-4BA3-BA34-60C27907B015}" dt="2025-04-06T20:48:45.010" v="523"/>
        <pc:sldMkLst>
          <pc:docMk/>
          <pc:sldMk cId="3510436556" sldId="2147482158"/>
        </pc:sldMkLst>
      </pc:sldChg>
      <pc:sldChg chg="add">
        <pc:chgData name="Kennie Pontoppidan" userId="0b66d239-c77c-454e-82ce-695a270d63fb" providerId="ADAL" clId="{8134002F-F1E2-4BA3-BA34-60C27907B015}" dt="2025-04-06T19:41:35.475" v="143"/>
        <pc:sldMkLst>
          <pc:docMk/>
          <pc:sldMk cId="3576090879" sldId="2147482192"/>
        </pc:sldMkLst>
      </pc:sldChg>
      <pc:sldChg chg="add">
        <pc:chgData name="Kennie Pontoppidan" userId="0b66d239-c77c-454e-82ce-695a270d63fb" providerId="ADAL" clId="{8134002F-F1E2-4BA3-BA34-60C27907B015}" dt="2025-04-06T19:41:35.475" v="143"/>
        <pc:sldMkLst>
          <pc:docMk/>
          <pc:sldMk cId="887695484" sldId="2147482195"/>
        </pc:sldMkLst>
      </pc:sldChg>
      <pc:sldChg chg="del">
        <pc:chgData name="Kennie Pontoppidan" userId="0b66d239-c77c-454e-82ce-695a270d63fb" providerId="ADAL" clId="{8134002F-F1E2-4BA3-BA34-60C27907B015}" dt="2025-04-01T12:28:29.858" v="47" actId="18676"/>
        <pc:sldMkLst>
          <pc:docMk/>
          <pc:sldMk cId="3711225225" sldId="2147482199"/>
        </pc:sldMkLst>
      </pc:sldChg>
      <pc:sldChg chg="del">
        <pc:chgData name="Kennie Pontoppidan" userId="0b66d239-c77c-454e-82ce-695a270d63fb" providerId="ADAL" clId="{8134002F-F1E2-4BA3-BA34-60C27907B015}" dt="2025-04-01T12:28:29.858" v="47" actId="18676"/>
        <pc:sldMkLst>
          <pc:docMk/>
          <pc:sldMk cId="2707725603" sldId="2147482204"/>
        </pc:sldMkLst>
      </pc:sldChg>
      <pc:sldChg chg="del">
        <pc:chgData name="Kennie Pontoppidan" userId="0b66d239-c77c-454e-82ce-695a270d63fb" providerId="ADAL" clId="{8134002F-F1E2-4BA3-BA34-60C27907B015}" dt="2025-04-01T12:28:23.286" v="44" actId="18676"/>
        <pc:sldMkLst>
          <pc:docMk/>
          <pc:sldMk cId="3568551415" sldId="2147482206"/>
        </pc:sldMkLst>
      </pc:sldChg>
      <pc:sldChg chg="del">
        <pc:chgData name="Kennie Pontoppidan" userId="0b66d239-c77c-454e-82ce-695a270d63fb" providerId="ADAL" clId="{8134002F-F1E2-4BA3-BA34-60C27907B015}" dt="2025-04-01T12:28:23.286" v="44" actId="18676"/>
        <pc:sldMkLst>
          <pc:docMk/>
          <pc:sldMk cId="2997209873" sldId="2147482207"/>
        </pc:sldMkLst>
      </pc:sldChg>
      <pc:sldChg chg="del">
        <pc:chgData name="Kennie Pontoppidan" userId="0b66d239-c77c-454e-82ce-695a270d63fb" providerId="ADAL" clId="{8134002F-F1E2-4BA3-BA34-60C27907B015}" dt="2025-04-01T12:28:23.286" v="44" actId="18676"/>
        <pc:sldMkLst>
          <pc:docMk/>
          <pc:sldMk cId="1258170539" sldId="2147482208"/>
        </pc:sldMkLst>
      </pc:sldChg>
      <pc:sldChg chg="ord">
        <pc:chgData name="Kennie Pontoppidan" userId="0b66d239-c77c-454e-82ce-695a270d63fb" providerId="ADAL" clId="{8134002F-F1E2-4BA3-BA34-60C27907B015}" dt="2025-04-06T19:45:08.444" v="185"/>
        <pc:sldMkLst>
          <pc:docMk/>
          <pc:sldMk cId="532229250" sldId="2147483531"/>
        </pc:sldMkLst>
      </pc:sldChg>
      <pc:sldChg chg="modSp mod">
        <pc:chgData name="Kennie Pontoppidan" userId="0b66d239-c77c-454e-82ce-695a270d63fb" providerId="ADAL" clId="{8134002F-F1E2-4BA3-BA34-60C27907B015}" dt="2025-04-06T19:49:58.510" v="355" actId="13926"/>
        <pc:sldMkLst>
          <pc:docMk/>
          <pc:sldMk cId="2058650604" sldId="2147483533"/>
        </pc:sldMkLst>
        <pc:spChg chg="mod">
          <ac:chgData name="Kennie Pontoppidan" userId="0b66d239-c77c-454e-82ce-695a270d63fb" providerId="ADAL" clId="{8134002F-F1E2-4BA3-BA34-60C27907B015}" dt="2025-04-06T19:49:58.510" v="355" actId="13926"/>
          <ac:spMkLst>
            <pc:docMk/>
            <pc:sldMk cId="2058650604" sldId="2147483533"/>
            <ac:spMk id="16" creationId="{903885EA-47BC-B2E0-7B00-E05693E76639}"/>
          </ac:spMkLst>
        </pc:spChg>
        <pc:graphicFrameChg chg="mod modGraphic">
          <ac:chgData name="Kennie Pontoppidan" userId="0b66d239-c77c-454e-82ce-695a270d63fb" providerId="ADAL" clId="{8134002F-F1E2-4BA3-BA34-60C27907B015}" dt="2025-04-06T19:49:24.376" v="354" actId="20577"/>
          <ac:graphicFrameMkLst>
            <pc:docMk/>
            <pc:sldMk cId="2058650604" sldId="2147483533"/>
            <ac:graphicFrameMk id="18" creationId="{DDAB3235-11F3-06A4-60DA-6760AEF091FB}"/>
          </ac:graphicFrameMkLst>
        </pc:graphicFrameChg>
      </pc:sldChg>
      <pc:sldChg chg="ord">
        <pc:chgData name="Kennie Pontoppidan" userId="0b66d239-c77c-454e-82ce-695a270d63fb" providerId="ADAL" clId="{8134002F-F1E2-4BA3-BA34-60C27907B015}" dt="2025-04-06T19:45:08.444" v="185"/>
        <pc:sldMkLst>
          <pc:docMk/>
          <pc:sldMk cId="3478658490" sldId="2147483586"/>
        </pc:sldMkLst>
      </pc:sldChg>
      <pc:sldChg chg="del">
        <pc:chgData name="Kennie Pontoppidan" userId="0b66d239-c77c-454e-82ce-695a270d63fb" providerId="ADAL" clId="{8134002F-F1E2-4BA3-BA34-60C27907B015}" dt="2025-04-01T12:28:20.100" v="43" actId="18676"/>
        <pc:sldMkLst>
          <pc:docMk/>
          <pc:sldMk cId="372549983" sldId="2147483587"/>
        </pc:sldMkLst>
      </pc:sldChg>
      <pc:sldChg chg="del">
        <pc:chgData name="Kennie Pontoppidan" userId="0b66d239-c77c-454e-82ce-695a270d63fb" providerId="ADAL" clId="{8134002F-F1E2-4BA3-BA34-60C27907B015}" dt="2025-04-01T12:28:23.286" v="44" actId="18676"/>
        <pc:sldMkLst>
          <pc:docMk/>
          <pc:sldMk cId="3826172643" sldId="2147483588"/>
        </pc:sldMkLst>
      </pc:sldChg>
      <pc:sldChg chg="del">
        <pc:chgData name="Kennie Pontoppidan" userId="0b66d239-c77c-454e-82ce-695a270d63fb" providerId="ADAL" clId="{8134002F-F1E2-4BA3-BA34-60C27907B015}" dt="2025-04-01T12:28:25.440" v="45" actId="18676"/>
        <pc:sldMkLst>
          <pc:docMk/>
          <pc:sldMk cId="75229804" sldId="2147483589"/>
        </pc:sldMkLst>
      </pc:sldChg>
      <pc:sldChg chg="del">
        <pc:chgData name="Kennie Pontoppidan" userId="0b66d239-c77c-454e-82ce-695a270d63fb" providerId="ADAL" clId="{8134002F-F1E2-4BA3-BA34-60C27907B015}" dt="2025-04-01T12:28:27.598" v="46" actId="18676"/>
        <pc:sldMkLst>
          <pc:docMk/>
          <pc:sldMk cId="2005200054" sldId="2147483590"/>
        </pc:sldMkLst>
      </pc:sldChg>
      <pc:sldChg chg="del">
        <pc:chgData name="Kennie Pontoppidan" userId="0b66d239-c77c-454e-82ce-695a270d63fb" providerId="ADAL" clId="{8134002F-F1E2-4BA3-BA34-60C27907B015}" dt="2025-04-01T12:28:29.858" v="47" actId="18676"/>
        <pc:sldMkLst>
          <pc:docMk/>
          <pc:sldMk cId="3052373026" sldId="2147483591"/>
        </pc:sldMkLst>
      </pc:sldChg>
      <pc:sldChg chg="del">
        <pc:chgData name="Kennie Pontoppidan" userId="0b66d239-c77c-454e-82ce-695a270d63fb" providerId="ADAL" clId="{8134002F-F1E2-4BA3-BA34-60C27907B015}" dt="2025-04-01T12:28:39.694" v="48" actId="47"/>
        <pc:sldMkLst>
          <pc:docMk/>
          <pc:sldMk cId="1429556087" sldId="2147483592"/>
        </pc:sldMkLst>
      </pc:sldChg>
      <pc:sldChg chg="del">
        <pc:chgData name="Kennie Pontoppidan" userId="0b66d239-c77c-454e-82ce-695a270d63fb" providerId="ADAL" clId="{8134002F-F1E2-4BA3-BA34-60C27907B015}" dt="2025-04-01T12:28:23.286" v="44" actId="18676"/>
        <pc:sldMkLst>
          <pc:docMk/>
          <pc:sldMk cId="3545592240" sldId="2147483593"/>
        </pc:sldMkLst>
      </pc:sldChg>
      <pc:sldChg chg="addSp delSp modSp new mod modShow chgLayout">
        <pc:chgData name="Kennie Pontoppidan" userId="0b66d239-c77c-454e-82ce-695a270d63fb" providerId="ADAL" clId="{8134002F-F1E2-4BA3-BA34-60C27907B015}" dt="2025-04-01T13:18:17.227" v="49" actId="729"/>
        <pc:sldMkLst>
          <pc:docMk/>
          <pc:sldMk cId="3811585284" sldId="2147483594"/>
        </pc:sldMkLst>
        <pc:spChg chg="add mod ord">
          <ac:chgData name="Kennie Pontoppidan" userId="0b66d239-c77c-454e-82ce-695a270d63fb" providerId="ADAL" clId="{8134002F-F1E2-4BA3-BA34-60C27907B015}" dt="2025-04-01T12:27:27.704" v="36" actId="20577"/>
          <ac:spMkLst>
            <pc:docMk/>
            <pc:sldMk cId="3811585284" sldId="2147483594"/>
            <ac:spMk id="5" creationId="{B3E1F569-CD4F-4DCB-5A96-88A2F852DCA7}"/>
          </ac:spMkLst>
        </pc:spChg>
        <pc:spChg chg="add mod ord">
          <ac:chgData name="Kennie Pontoppidan" userId="0b66d239-c77c-454e-82ce-695a270d63fb" providerId="ADAL" clId="{8134002F-F1E2-4BA3-BA34-60C27907B015}" dt="2025-04-01T12:27:16.001" v="9" actId="700"/>
          <ac:spMkLst>
            <pc:docMk/>
            <pc:sldMk cId="3811585284" sldId="2147483594"/>
            <ac:spMk id="6" creationId="{E0D7102B-BAED-27BB-5AFB-0E2CAED6F649}"/>
          </ac:spMkLst>
        </pc:spChg>
        <pc:spChg chg="add mod ord">
          <ac:chgData name="Kennie Pontoppidan" userId="0b66d239-c77c-454e-82ce-695a270d63fb" providerId="ADAL" clId="{8134002F-F1E2-4BA3-BA34-60C27907B015}" dt="2025-04-01T12:28:04.443" v="41" actId="404"/>
          <ac:spMkLst>
            <pc:docMk/>
            <pc:sldMk cId="3811585284" sldId="2147483594"/>
            <ac:spMk id="7" creationId="{4E5FADC3-7C8F-4DBF-CA27-9BD67A166DD6}"/>
          </ac:spMkLst>
        </pc:spChg>
      </pc:sldChg>
      <pc:sldChg chg="new del">
        <pc:chgData name="Kennie Pontoppidan" userId="0b66d239-c77c-454e-82ce-695a270d63fb" providerId="ADAL" clId="{8134002F-F1E2-4BA3-BA34-60C27907B015}" dt="2025-04-06T19:41:45.165" v="145" actId="47"/>
        <pc:sldMkLst>
          <pc:docMk/>
          <pc:sldMk cId="3885348815" sldId="2147483595"/>
        </pc:sldMkLst>
      </pc:sldChg>
      <pc:sldChg chg="modSp new mod">
        <pc:chgData name="Kennie Pontoppidan" userId="0b66d239-c77c-454e-82ce-695a270d63fb" providerId="ADAL" clId="{8134002F-F1E2-4BA3-BA34-60C27907B015}" dt="2025-04-06T19:42:04.406" v="160" actId="5793"/>
        <pc:sldMkLst>
          <pc:docMk/>
          <pc:sldMk cId="4126877052" sldId="2147483595"/>
        </pc:sldMkLst>
        <pc:spChg chg="mod">
          <ac:chgData name="Kennie Pontoppidan" userId="0b66d239-c77c-454e-82ce-695a270d63fb" providerId="ADAL" clId="{8134002F-F1E2-4BA3-BA34-60C27907B015}" dt="2025-04-06T19:42:04.406" v="160" actId="5793"/>
          <ac:spMkLst>
            <pc:docMk/>
            <pc:sldMk cId="4126877052" sldId="2147483595"/>
            <ac:spMk id="2" creationId="{B54BAE55-7190-0C03-C345-C18B5DF10F4F}"/>
          </ac:spMkLst>
        </pc:spChg>
      </pc:sldChg>
      <pc:sldChg chg="add del">
        <pc:chgData name="Kennie Pontoppidan" userId="0b66d239-c77c-454e-82ce-695a270d63fb" providerId="ADAL" clId="{8134002F-F1E2-4BA3-BA34-60C27907B015}" dt="2025-04-06T19:42:28.460" v="162"/>
        <pc:sldMkLst>
          <pc:docMk/>
          <pc:sldMk cId="1076441163" sldId="2147483596"/>
        </pc:sldMkLst>
      </pc:sldChg>
      <pc:sldChg chg="modSp add mod">
        <pc:chgData name="Kennie Pontoppidan" userId="0b66d239-c77c-454e-82ce-695a270d63fb" providerId="ADAL" clId="{8134002F-F1E2-4BA3-BA34-60C27907B015}" dt="2025-04-06T19:42:50.992" v="165" actId="6549"/>
        <pc:sldMkLst>
          <pc:docMk/>
          <pc:sldMk cId="3594059146" sldId="2147483596"/>
        </pc:sldMkLst>
        <pc:spChg chg="mod">
          <ac:chgData name="Kennie Pontoppidan" userId="0b66d239-c77c-454e-82ce-695a270d63fb" providerId="ADAL" clId="{8134002F-F1E2-4BA3-BA34-60C27907B015}" dt="2025-04-06T19:42:50.992" v="165" actId="6549"/>
          <ac:spMkLst>
            <pc:docMk/>
            <pc:sldMk cId="3594059146" sldId="2147483596"/>
            <ac:spMk id="2" creationId="{09C9CD03-1AE2-5319-4C9D-D12F8BC070DF}"/>
          </ac:spMkLst>
        </pc:spChg>
      </pc:sldChg>
      <pc:sldChg chg="modSp new mod">
        <pc:chgData name="Kennie Pontoppidan" userId="0b66d239-c77c-454e-82ce-695a270d63fb" providerId="ADAL" clId="{8134002F-F1E2-4BA3-BA34-60C27907B015}" dt="2025-04-06T20:38:26.085" v="415" actId="404"/>
        <pc:sldMkLst>
          <pc:docMk/>
          <pc:sldMk cId="848943926" sldId="2147483597"/>
        </pc:sldMkLst>
        <pc:spChg chg="mod">
          <ac:chgData name="Kennie Pontoppidan" userId="0b66d239-c77c-454e-82ce-695a270d63fb" providerId="ADAL" clId="{8134002F-F1E2-4BA3-BA34-60C27907B015}" dt="2025-04-06T20:38:26.085" v="415" actId="404"/>
          <ac:spMkLst>
            <pc:docMk/>
            <pc:sldMk cId="848943926" sldId="2147483597"/>
            <ac:spMk id="2" creationId="{665BECCA-0141-3857-CE60-5FD867758087}"/>
          </ac:spMkLst>
        </pc:spChg>
      </pc:sldChg>
      <pc:sldChg chg="add del">
        <pc:chgData name="Kennie Pontoppidan" userId="0b66d239-c77c-454e-82ce-695a270d63fb" providerId="ADAL" clId="{8134002F-F1E2-4BA3-BA34-60C27907B015}" dt="2025-04-06T19:42:28.460" v="162"/>
        <pc:sldMkLst>
          <pc:docMk/>
          <pc:sldMk cId="1923997045" sldId="2147483597"/>
        </pc:sldMkLst>
      </pc:sldChg>
      <pc:sldChg chg="addSp modSp new mod chgLayout">
        <pc:chgData name="Kennie Pontoppidan" userId="0b66d239-c77c-454e-82ce-695a270d63fb" providerId="ADAL" clId="{8134002F-F1E2-4BA3-BA34-60C27907B015}" dt="2025-04-06T20:39:37.163" v="457"/>
        <pc:sldMkLst>
          <pc:docMk/>
          <pc:sldMk cId="578720204" sldId="2147483598"/>
        </pc:sldMkLst>
        <pc:spChg chg="add mod">
          <ac:chgData name="Kennie Pontoppidan" userId="0b66d239-c77c-454e-82ce-695a270d63fb" providerId="ADAL" clId="{8134002F-F1E2-4BA3-BA34-60C27907B015}" dt="2025-04-06T20:39:37.163" v="457"/>
          <ac:spMkLst>
            <pc:docMk/>
            <pc:sldMk cId="578720204" sldId="2147483598"/>
            <ac:spMk id="2" creationId="{260A1BC4-2CAF-DAAB-23C3-98A9CEBFC5EB}"/>
          </ac:spMkLst>
        </pc:spChg>
      </pc:sldChg>
      <pc:sldChg chg="add del">
        <pc:chgData name="Kennie Pontoppidan" userId="0b66d239-c77c-454e-82ce-695a270d63fb" providerId="ADAL" clId="{8134002F-F1E2-4BA3-BA34-60C27907B015}" dt="2025-04-06T19:42:28.460" v="162"/>
        <pc:sldMkLst>
          <pc:docMk/>
          <pc:sldMk cId="752960786" sldId="2147483598"/>
        </pc:sldMkLst>
      </pc:sldChg>
      <pc:sldChg chg="new del">
        <pc:chgData name="Kennie Pontoppidan" userId="0b66d239-c77c-454e-82ce-695a270d63fb" providerId="ADAL" clId="{8134002F-F1E2-4BA3-BA34-60C27907B015}" dt="2025-04-06T20:43:46.564" v="463" actId="680"/>
        <pc:sldMkLst>
          <pc:docMk/>
          <pc:sldMk cId="361543677" sldId="2147483599"/>
        </pc:sldMkLst>
      </pc:sldChg>
      <pc:sldChg chg="modSp add del mod">
        <pc:chgData name="Kennie Pontoppidan" userId="0b66d239-c77c-454e-82ce-695a270d63fb" providerId="ADAL" clId="{8134002F-F1E2-4BA3-BA34-60C27907B015}" dt="2025-04-06T20:44:54.970" v="499" actId="20577"/>
        <pc:sldMkLst>
          <pc:docMk/>
          <pc:sldMk cId="1701251458" sldId="2147483599"/>
        </pc:sldMkLst>
        <pc:spChg chg="mod">
          <ac:chgData name="Kennie Pontoppidan" userId="0b66d239-c77c-454e-82ce-695a270d63fb" providerId="ADAL" clId="{8134002F-F1E2-4BA3-BA34-60C27907B015}" dt="2025-04-06T20:44:54.970" v="499" actId="20577"/>
          <ac:spMkLst>
            <pc:docMk/>
            <pc:sldMk cId="1701251458" sldId="2147483599"/>
            <ac:spMk id="5" creationId="{24158275-F765-F194-EDE5-718EC1185948}"/>
          </ac:spMkLst>
        </pc:spChg>
      </pc:sldChg>
      <pc:sldChg chg="add del">
        <pc:chgData name="Kennie Pontoppidan" userId="0b66d239-c77c-454e-82ce-695a270d63fb" providerId="ADAL" clId="{8134002F-F1E2-4BA3-BA34-60C27907B015}" dt="2025-04-06T20:43:31.917" v="461" actId="47"/>
        <pc:sldMkLst>
          <pc:docMk/>
          <pc:sldMk cId="2082460801" sldId="2147483599"/>
        </pc:sldMkLst>
      </pc:sldChg>
      <pc:sldChg chg="add del">
        <pc:chgData name="Kennie Pontoppidan" userId="0b66d239-c77c-454e-82ce-695a270d63fb" providerId="ADAL" clId="{8134002F-F1E2-4BA3-BA34-60C27907B015}" dt="2025-04-06T20:44:30.316" v="465"/>
        <pc:sldMkLst>
          <pc:docMk/>
          <pc:sldMk cId="2483551484" sldId="2147483599"/>
        </pc:sldMkLst>
      </pc:sldChg>
      <pc:sldChg chg="add del">
        <pc:chgData name="Kennie Pontoppidan" userId="0b66d239-c77c-454e-82ce-695a270d63fb" providerId="ADAL" clId="{8134002F-F1E2-4BA3-BA34-60C27907B015}" dt="2025-04-06T19:42:28.460" v="162"/>
        <pc:sldMkLst>
          <pc:docMk/>
          <pc:sldMk cId="3989321457" sldId="2147483599"/>
        </pc:sldMkLst>
      </pc:sldChg>
      <pc:sldChg chg="modSp add del mod">
        <pc:chgData name="Kennie Pontoppidan" userId="0b66d239-c77c-454e-82ce-695a270d63fb" providerId="ADAL" clId="{8134002F-F1E2-4BA3-BA34-60C27907B015}" dt="2025-04-06T20:45:09.257" v="507" actId="20577"/>
        <pc:sldMkLst>
          <pc:docMk/>
          <pc:sldMk cId="2299151919" sldId="2147483600"/>
        </pc:sldMkLst>
        <pc:spChg chg="mod">
          <ac:chgData name="Kennie Pontoppidan" userId="0b66d239-c77c-454e-82ce-695a270d63fb" providerId="ADAL" clId="{8134002F-F1E2-4BA3-BA34-60C27907B015}" dt="2025-04-06T20:45:09.257" v="507" actId="20577"/>
          <ac:spMkLst>
            <pc:docMk/>
            <pc:sldMk cId="2299151919" sldId="2147483600"/>
            <ac:spMk id="5" creationId="{4B2D1634-E6F6-4FB5-0CAD-CF03F55E768B}"/>
          </ac:spMkLst>
        </pc:spChg>
      </pc:sldChg>
      <pc:sldChg chg="add del">
        <pc:chgData name="Kennie Pontoppidan" userId="0b66d239-c77c-454e-82ce-695a270d63fb" providerId="ADAL" clId="{8134002F-F1E2-4BA3-BA34-60C27907B015}" dt="2025-04-06T20:44:30.316" v="465"/>
        <pc:sldMkLst>
          <pc:docMk/>
          <pc:sldMk cId="2828628470" sldId="2147483600"/>
        </pc:sldMkLst>
      </pc:sldChg>
      <pc:sldChg chg="add del">
        <pc:chgData name="Kennie Pontoppidan" userId="0b66d239-c77c-454e-82ce-695a270d63fb" providerId="ADAL" clId="{8134002F-F1E2-4BA3-BA34-60C27907B015}" dt="2025-04-06T20:44:30.316" v="465"/>
        <pc:sldMkLst>
          <pc:docMk/>
          <pc:sldMk cId="2035905801" sldId="2147483601"/>
        </pc:sldMkLst>
      </pc:sldChg>
      <pc:sldChg chg="add del">
        <pc:chgData name="Kennie Pontoppidan" userId="0b66d239-c77c-454e-82ce-695a270d63fb" providerId="ADAL" clId="{8134002F-F1E2-4BA3-BA34-60C27907B015}" dt="2025-04-06T20:45:11.615" v="508" actId="47"/>
        <pc:sldMkLst>
          <pc:docMk/>
          <pc:sldMk cId="3911069928" sldId="2147483601"/>
        </pc:sldMkLst>
      </pc:sldChg>
      <pc:sldChg chg="add del">
        <pc:chgData name="Kennie Pontoppidan" userId="0b66d239-c77c-454e-82ce-695a270d63fb" providerId="ADAL" clId="{8134002F-F1E2-4BA3-BA34-60C27907B015}" dt="2025-04-06T20:44:30.316" v="465"/>
        <pc:sldMkLst>
          <pc:docMk/>
          <pc:sldMk cId="3315784142" sldId="2147483602"/>
        </pc:sldMkLst>
      </pc:sldChg>
      <pc:sldChg chg="modSp add del mod">
        <pc:chgData name="Kennie Pontoppidan" userId="0b66d239-c77c-454e-82ce-695a270d63fb" providerId="ADAL" clId="{8134002F-F1E2-4BA3-BA34-60C27907B015}" dt="2025-04-06T20:45:19.268" v="515" actId="20577"/>
        <pc:sldMkLst>
          <pc:docMk/>
          <pc:sldMk cId="3426805909" sldId="2147483602"/>
        </pc:sldMkLst>
        <pc:spChg chg="mod">
          <ac:chgData name="Kennie Pontoppidan" userId="0b66d239-c77c-454e-82ce-695a270d63fb" providerId="ADAL" clId="{8134002F-F1E2-4BA3-BA34-60C27907B015}" dt="2025-04-06T20:45:19.268" v="515" actId="20577"/>
          <ac:spMkLst>
            <pc:docMk/>
            <pc:sldMk cId="3426805909" sldId="2147483602"/>
            <ac:spMk id="5" creationId="{6101E2FF-2638-DF4D-F7D5-7604025CF3CC}"/>
          </ac:spMkLst>
        </pc:spChg>
      </pc:sldChg>
      <pc:sldChg chg="new del">
        <pc:chgData name="Kennie Pontoppidan" userId="0b66d239-c77c-454e-82ce-695a270d63fb" providerId="ADAL" clId="{8134002F-F1E2-4BA3-BA34-60C27907B015}" dt="2025-04-06T20:48:50.331" v="524" actId="47"/>
        <pc:sldMkLst>
          <pc:docMk/>
          <pc:sldMk cId="1318447210" sldId="2147483603"/>
        </pc:sldMkLst>
      </pc:sldChg>
      <pc:sldChg chg="add">
        <pc:chgData name="Kennie Pontoppidan" userId="0b66d239-c77c-454e-82ce-695a270d63fb" providerId="ADAL" clId="{8134002F-F1E2-4BA3-BA34-60C27907B015}" dt="2025-04-06T20:50:50.283" v="525"/>
        <pc:sldMkLst>
          <pc:docMk/>
          <pc:sldMk cId="2554917048" sldId="2147483603"/>
        </pc:sldMkLst>
      </pc:sldChg>
      <pc:sldChg chg="add del">
        <pc:chgData name="Kennie Pontoppidan" userId="0b66d239-c77c-454e-82ce-695a270d63fb" providerId="ADAL" clId="{8134002F-F1E2-4BA3-BA34-60C27907B015}" dt="2025-04-06T20:44:30.316" v="465"/>
        <pc:sldMkLst>
          <pc:docMk/>
          <pc:sldMk cId="3600520020" sldId="2147483603"/>
        </pc:sldMkLst>
      </pc:sldChg>
      <pc:sldChg chg="add del">
        <pc:chgData name="Kennie Pontoppidan" userId="0b66d239-c77c-454e-82ce-695a270d63fb" providerId="ADAL" clId="{8134002F-F1E2-4BA3-BA34-60C27907B015}" dt="2025-04-06T20:44:30.316" v="465"/>
        <pc:sldMkLst>
          <pc:docMk/>
          <pc:sldMk cId="102607202" sldId="2147483604"/>
        </pc:sldMkLst>
      </pc:sldChg>
      <pc:sldChg chg="add">
        <pc:chgData name="Kennie Pontoppidan" userId="0b66d239-c77c-454e-82ce-695a270d63fb" providerId="ADAL" clId="{8134002F-F1E2-4BA3-BA34-60C27907B015}" dt="2025-04-06T20:50:50.283" v="525"/>
        <pc:sldMkLst>
          <pc:docMk/>
          <pc:sldMk cId="2598291013" sldId="2147483604"/>
        </pc:sldMkLst>
      </pc:sldChg>
      <pc:sldChg chg="modSp new mod">
        <pc:chgData name="Kennie Pontoppidan" userId="0b66d239-c77c-454e-82ce-695a270d63fb" providerId="ADAL" clId="{8134002F-F1E2-4BA3-BA34-60C27907B015}" dt="2025-04-06T20:52:52.214" v="593" actId="20577"/>
        <pc:sldMkLst>
          <pc:docMk/>
          <pc:sldMk cId="1432163" sldId="2147483605"/>
        </pc:sldMkLst>
        <pc:spChg chg="mod">
          <ac:chgData name="Kennie Pontoppidan" userId="0b66d239-c77c-454e-82ce-695a270d63fb" providerId="ADAL" clId="{8134002F-F1E2-4BA3-BA34-60C27907B015}" dt="2025-04-06T20:52:36.674" v="538" actId="20577"/>
          <ac:spMkLst>
            <pc:docMk/>
            <pc:sldMk cId="1432163" sldId="2147483605"/>
            <ac:spMk id="2" creationId="{A12121CF-D71E-210E-D02C-33AD8438D1E8}"/>
          </ac:spMkLst>
        </pc:spChg>
        <pc:spChg chg="mod">
          <ac:chgData name="Kennie Pontoppidan" userId="0b66d239-c77c-454e-82ce-695a270d63fb" providerId="ADAL" clId="{8134002F-F1E2-4BA3-BA34-60C27907B015}" dt="2025-04-06T20:52:52.214" v="593" actId="20577"/>
          <ac:spMkLst>
            <pc:docMk/>
            <pc:sldMk cId="1432163" sldId="2147483605"/>
            <ac:spMk id="3" creationId="{34CCA714-F3F5-1174-F0E3-3C3C764A767C}"/>
          </ac:spMkLst>
        </pc:spChg>
      </pc:sldChg>
      <pc:sldChg chg="add del">
        <pc:chgData name="Kennie Pontoppidan" userId="0b66d239-c77c-454e-82ce-695a270d63fb" providerId="ADAL" clId="{8134002F-F1E2-4BA3-BA34-60C27907B015}" dt="2025-04-06T20:52:26.452" v="533"/>
        <pc:sldMkLst>
          <pc:docMk/>
          <pc:sldMk cId="1941967783" sldId="2147483605"/>
        </pc:sldMkLst>
      </pc:sldChg>
      <pc:sldChg chg="add del">
        <pc:chgData name="Kennie Pontoppidan" userId="0b66d239-c77c-454e-82ce-695a270d63fb" providerId="ADAL" clId="{8134002F-F1E2-4BA3-BA34-60C27907B015}" dt="2025-04-06T20:44:30.316" v="465"/>
        <pc:sldMkLst>
          <pc:docMk/>
          <pc:sldMk cId="3155571283" sldId="2147483605"/>
        </pc:sldMkLst>
      </pc:sldChg>
      <pc:sldChg chg="add del">
        <pc:chgData name="Kennie Pontoppidan" userId="0b66d239-c77c-454e-82ce-695a270d63fb" providerId="ADAL" clId="{8134002F-F1E2-4BA3-BA34-60C27907B015}" dt="2025-04-06T20:44:30.316" v="465"/>
        <pc:sldMkLst>
          <pc:docMk/>
          <pc:sldMk cId="461718048" sldId="2147483606"/>
        </pc:sldMkLst>
      </pc:sldChg>
      <pc:sldChg chg="add del">
        <pc:chgData name="Kennie Pontoppidan" userId="0b66d239-c77c-454e-82ce-695a270d63fb" providerId="ADAL" clId="{8134002F-F1E2-4BA3-BA34-60C27907B015}" dt="2025-04-06T20:44:30.316" v="465"/>
        <pc:sldMkLst>
          <pc:docMk/>
          <pc:sldMk cId="2082460801" sldId="2147483607"/>
        </pc:sldMkLst>
      </pc:sldChg>
      <pc:sldChg chg="add del">
        <pc:chgData name="Kennie Pontoppidan" userId="0b66d239-c77c-454e-82ce-695a270d63fb" providerId="ADAL" clId="{8134002F-F1E2-4BA3-BA34-60C27907B015}" dt="2025-04-06T20:44:30.316" v="465"/>
        <pc:sldMkLst>
          <pc:docMk/>
          <pc:sldMk cId="2146282919" sldId="2147483608"/>
        </pc:sldMkLst>
      </pc:sldChg>
      <pc:sldChg chg="add del">
        <pc:chgData name="Kennie Pontoppidan" userId="0b66d239-c77c-454e-82ce-695a270d63fb" providerId="ADAL" clId="{8134002F-F1E2-4BA3-BA34-60C27907B015}" dt="2025-04-06T20:44:30.316" v="465"/>
        <pc:sldMkLst>
          <pc:docMk/>
          <pc:sldMk cId="3366062204" sldId="2147483609"/>
        </pc:sldMkLst>
      </pc:sldChg>
      <pc:sldChg chg="add del">
        <pc:chgData name="Kennie Pontoppidan" userId="0b66d239-c77c-454e-82ce-695a270d63fb" providerId="ADAL" clId="{8134002F-F1E2-4BA3-BA34-60C27907B015}" dt="2025-04-06T20:44:30.316" v="465"/>
        <pc:sldMkLst>
          <pc:docMk/>
          <pc:sldMk cId="3154208769" sldId="2147483610"/>
        </pc:sldMkLst>
      </pc:sldChg>
      <pc:sldChg chg="add del">
        <pc:chgData name="Kennie Pontoppidan" userId="0b66d239-c77c-454e-82ce-695a270d63fb" providerId="ADAL" clId="{8134002F-F1E2-4BA3-BA34-60C27907B015}" dt="2025-04-06T20:44:30.316" v="465"/>
        <pc:sldMkLst>
          <pc:docMk/>
          <pc:sldMk cId="2375762151" sldId="2147483611"/>
        </pc:sldMkLst>
      </pc:sldChg>
      <pc:sldMasterChg chg="del delSldLayout">
        <pc:chgData name="Kennie Pontoppidan" userId="0b66d239-c77c-454e-82ce-695a270d63fb" providerId="ADAL" clId="{8134002F-F1E2-4BA3-BA34-60C27907B015}" dt="2025-04-06T20:38:00.773" v="411"/>
        <pc:sldMasterMkLst>
          <pc:docMk/>
          <pc:sldMasterMk cId="3437822802" sldId="2147483660"/>
        </pc:sldMasterMkLst>
        <pc:sldLayoutChg chg="del">
          <pc:chgData name="Kennie Pontoppidan" userId="0b66d239-c77c-454e-82ce-695a270d63fb" providerId="ADAL" clId="{8134002F-F1E2-4BA3-BA34-60C27907B015}" dt="2025-04-06T20:38:00.773" v="411"/>
          <pc:sldLayoutMkLst>
            <pc:docMk/>
            <pc:sldMasterMk cId="3437822802" sldId="2147483660"/>
            <pc:sldLayoutMk cId="3366188436" sldId="214748366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368876318" sldId="214748366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719442747" sldId="214748366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545915876" sldId="214748366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227565251" sldId="214748366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725553285" sldId="214748366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10789867" sldId="214748366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429346269" sldId="214748366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846515309" sldId="214748366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062268511" sldId="214748367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083873578" sldId="214748367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91360533" sldId="214748367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003018228" sldId="214748367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950968560" sldId="214748367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882676031" sldId="214748367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207011470" sldId="214748367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162029887" sldId="214748367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240401943" sldId="214748367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629581906" sldId="214748367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154127160" sldId="214748368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026188479" sldId="214748368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493084375" sldId="214748368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221373060" sldId="214748368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534725312" sldId="214748368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692511310" sldId="214748368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281249140" sldId="214748368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163481110" sldId="214748368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271765270" sldId="214748368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105608926" sldId="214748368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32207691" sldId="214748369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082407681" sldId="214748369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971332911" sldId="214748369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149725218" sldId="214748369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161160613" sldId="214748369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80389389" sldId="214748369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035458138" sldId="214748369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536364244" sldId="214748369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352043404" sldId="214748369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599180661" sldId="214748369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766343253" sldId="214748370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435809511" sldId="214748370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78668447" sldId="214748370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158595996" sldId="214748370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518048172" sldId="214748370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64689700" sldId="214748370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514641027" sldId="214748370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371652487" sldId="214748370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874621708" sldId="214748370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613063930" sldId="214748370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447489127" sldId="214748371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43919659" sldId="214748371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221815894" sldId="214748371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58391802" sldId="214748371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857990718" sldId="214748371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683122268" sldId="214748371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962782124" sldId="214748371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735806374" sldId="214748371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856117062" sldId="214748545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541170259" sldId="2147485482"/>
          </pc:sldLayoutMkLst>
        </pc:sldLayoutChg>
      </pc:sldMasterChg>
      <pc:sldMasterChg chg="del delSldLayout">
        <pc:chgData name="Kennie Pontoppidan" userId="0b66d239-c77c-454e-82ce-695a270d63fb" providerId="ADAL" clId="{8134002F-F1E2-4BA3-BA34-60C27907B015}" dt="2025-04-06T20:38:00.773" v="411"/>
        <pc:sldMasterMkLst>
          <pc:docMk/>
          <pc:sldMasterMk cId="3345353608" sldId="2147483796"/>
        </pc:sldMasterMkLst>
        <pc:sldLayoutChg chg="del">
          <pc:chgData name="Kennie Pontoppidan" userId="0b66d239-c77c-454e-82ce-695a270d63fb" providerId="ADAL" clId="{8134002F-F1E2-4BA3-BA34-60C27907B015}" dt="2025-04-06T20:38:00.773" v="411"/>
          <pc:sldLayoutMkLst>
            <pc:docMk/>
            <pc:sldMasterMk cId="3345353608" sldId="2147483796"/>
            <pc:sldLayoutMk cId="2690282096" sldId="214748379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771992962" sldId="214748379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50592213" sldId="214748379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590499493" sldId="214748380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281458384" sldId="214748380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365024407" sldId="214748380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389265559" sldId="214748380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738674178" sldId="214748380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4021737882" sldId="214748380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659319654" sldId="214748380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507591385" sldId="214748380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728252832" sldId="214748380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364290150" sldId="214748380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253907887" sldId="214748381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955600839" sldId="214748381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018759523" sldId="214748381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87097872" sldId="214748381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939714316" sldId="214748468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486941184" sldId="214748518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346855837" sldId="214748548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4047821516" sldId="214748548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540710842" sldId="214748548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801606196" sldId="214748548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855736988" sldId="214748548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830707994" sldId="214748548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766336660" sldId="214748549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951609887" sldId="214748549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566174447" sldId="214748549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262605547" sldId="214748549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340864344" sldId="214748549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958071774" sldId="214748549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732124973" sldId="214748549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550043554" sldId="214748549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853213149" sldId="214748549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410354753" sldId="214748549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828157548" sldId="214748550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930658324" sldId="214748550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139353340" sldId="214748550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373362043" sldId="214748550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562430234" sldId="214748550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817751024" sldId="214748550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444379880" sldId="214748550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918741959" sldId="214748550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065112735" sldId="214748550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34014078" sldId="214748550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402030923" sldId="214748551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873527072" sldId="214748551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444791769" sldId="214748551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197070923" sldId="214748551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844681087" sldId="2147485514"/>
          </pc:sldLayoutMkLst>
        </pc:sldLayoutChg>
      </pc:sldMasterChg>
      <pc:sldMasterChg chg="del delSldLayout">
        <pc:chgData name="Kennie Pontoppidan" userId="0b66d239-c77c-454e-82ce-695a270d63fb" providerId="ADAL" clId="{8134002F-F1E2-4BA3-BA34-60C27907B015}" dt="2025-04-06T20:38:00.773" v="411"/>
        <pc:sldMasterMkLst>
          <pc:docMk/>
          <pc:sldMasterMk cId="231713050" sldId="2147485230"/>
        </pc:sldMasterMkLst>
        <pc:sldLayoutChg chg="del">
          <pc:chgData name="Kennie Pontoppidan" userId="0b66d239-c77c-454e-82ce-695a270d63fb" providerId="ADAL" clId="{8134002F-F1E2-4BA3-BA34-60C27907B015}" dt="2025-04-06T20:38:00.773" v="411"/>
          <pc:sldLayoutMkLst>
            <pc:docMk/>
            <pc:sldMasterMk cId="231713050" sldId="2147485230"/>
            <pc:sldLayoutMk cId="2759370060" sldId="214748523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237959798" sldId="214748523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183718048" sldId="214748523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708275438" sldId="214748523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588924843" sldId="214748523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45387182" sldId="214748523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89550993" sldId="214748523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845275516" sldId="214748523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565166107" sldId="214748523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8377034" sldId="214748524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2930499" sldId="214748524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816922357" sldId="214748524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933104114" sldId="214748524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417603122" sldId="214748524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099950877" sldId="214748524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656873702" sldId="214748524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60306623" sldId="214748524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1142302" sldId="214748524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416860764" sldId="214748524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946676125" sldId="214748525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217666942" sldId="214748525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413988018" sldId="214748525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913552250" sldId="214748525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793301925" sldId="214748525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385313585" sldId="214748525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554188487" sldId="214748525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07481627" sldId="214748525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976729320" sldId="214748525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127884996" sldId="214748525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03937098" sldId="214748526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210873687" sldId="214748526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766306111" sldId="214748526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657425138" sldId="214748526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257329113" sldId="214748526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102082751" sldId="214748526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663225083" sldId="214748526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102984483" sldId="214748526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860931540" sldId="214748526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449852014" sldId="214748526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14344815" sldId="214748527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869183193" sldId="214748527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673987256" sldId="214748527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769617070" sldId="214748527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801005881" sldId="214748527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629375025" sldId="214748527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779459926" sldId="214748527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763769425" sldId="214748527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714428594" sldId="2147485278"/>
          </pc:sldLayoutMkLst>
        </pc:sldLayoutChg>
      </pc:sldMasterChg>
      <pc:sldMasterChg chg="del delSldLayout">
        <pc:chgData name="Kennie Pontoppidan" userId="0b66d239-c77c-454e-82ce-695a270d63fb" providerId="ADAL" clId="{8134002F-F1E2-4BA3-BA34-60C27907B015}" dt="2025-04-06T20:38:00.773" v="411"/>
        <pc:sldMasterMkLst>
          <pc:docMk/>
          <pc:sldMasterMk cId="1320675147" sldId="2147485279"/>
        </pc:sldMasterMkLst>
        <pc:sldLayoutChg chg="del">
          <pc:chgData name="Kennie Pontoppidan" userId="0b66d239-c77c-454e-82ce-695a270d63fb" providerId="ADAL" clId="{8134002F-F1E2-4BA3-BA34-60C27907B015}" dt="2025-04-06T20:38:00.773" v="411"/>
          <pc:sldLayoutMkLst>
            <pc:docMk/>
            <pc:sldMasterMk cId="1320675147" sldId="2147485279"/>
            <pc:sldLayoutMk cId="3425025000" sldId="214748528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13932099" sldId="214748528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419443008" sldId="214748528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46510561" sldId="214748528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078721419" sldId="214748528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792323867" sldId="214748528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197857371" sldId="214748528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288717784" sldId="214748528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629167090" sldId="214748528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495699509" sldId="214748528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601040132" sldId="214748529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779562284" sldId="214748529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772647182" sldId="214748529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119281901" sldId="214748529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093740633" sldId="214748529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603625534" sldId="214748529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226583925" sldId="214748529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415746450" sldId="214748529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50837747" sldId="214748529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239845400" sldId="214748529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722439705" sldId="214748530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805899194" sldId="214748530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211387190" sldId="214748530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008773333" sldId="214748530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127001752" sldId="214748530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719443887" sldId="214748530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413233031" sldId="214748530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000879761" sldId="214748530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86850698" sldId="214748530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008479807" sldId="214748530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618123306" sldId="214748531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942388367" sldId="214748531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077915403" sldId="214748531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385892985" sldId="214748531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34785988" sldId="214748531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976033660" sldId="214748531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213592481" sldId="214748531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037033675" sldId="214748531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356297957" sldId="214748531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270290061" sldId="214748531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813789646" sldId="214748532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450532551" sldId="214748532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651244689" sldId="214748532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530821335" sldId="214748532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669747097" sldId="214748532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410878796" sldId="214748532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544608183" sldId="214748532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793250231" sldId="2147485327"/>
          </pc:sldLayoutMkLst>
        </pc:sldLayoutChg>
      </pc:sldMasterChg>
      <pc:sldMasterChg chg="del delSldLayout">
        <pc:chgData name="Kennie Pontoppidan" userId="0b66d239-c77c-454e-82ce-695a270d63fb" providerId="ADAL" clId="{8134002F-F1E2-4BA3-BA34-60C27907B015}" dt="2025-04-06T20:38:00.773" v="411"/>
        <pc:sldMasterMkLst>
          <pc:docMk/>
          <pc:sldMasterMk cId="1058933271" sldId="2147485328"/>
        </pc:sldMasterMkLst>
        <pc:sldLayoutChg chg="del">
          <pc:chgData name="Kennie Pontoppidan" userId="0b66d239-c77c-454e-82ce-695a270d63fb" providerId="ADAL" clId="{8134002F-F1E2-4BA3-BA34-60C27907B015}" dt="2025-04-06T20:38:00.773" v="411"/>
          <pc:sldLayoutMkLst>
            <pc:docMk/>
            <pc:sldMasterMk cId="1058933271" sldId="2147485328"/>
            <pc:sldLayoutMk cId="1454796186" sldId="214748532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16288227" sldId="214748533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61279602" sldId="214748533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69996842" sldId="214748533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20371789" sldId="214748533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632797438" sldId="214748533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386879534" sldId="214748533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252313371" sldId="214748533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607541185" sldId="214748533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45851977" sldId="214748533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96910617" sldId="214748533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111633661" sldId="214748534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041218750" sldId="214748534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552207369" sldId="214748534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239583370" sldId="214748534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989245947" sldId="214748534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50351246" sldId="214748534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51281252" sldId="214748534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136980886" sldId="214748534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282897692" sldId="214748534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893912160" sldId="214748534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884297400" sldId="214748535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024836015" sldId="214748535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893383933" sldId="214748535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890865510" sldId="214748535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98986024" sldId="214748535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411839415" sldId="214748535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025552807" sldId="214748535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938752282" sldId="214748535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906039561" sldId="214748535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591134792" sldId="214748535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52071220" sldId="214748536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587256275" sldId="214748536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004274104" sldId="214748536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10535894" sldId="214748536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940509486" sldId="214748536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99800320" sldId="214748536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34550868" sldId="214748536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051444566" sldId="214748536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75744062" sldId="214748536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391474425" sldId="214748536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79340448" sldId="214748537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644645913" sldId="214748537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478224320" sldId="214748537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537207837" sldId="214748537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099805507" sldId="214748537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621220964" sldId="214748537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36041282" sldId="214748537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36311947" sldId="214748537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53609397" sldId="214748537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505127158" sldId="214748537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40408974" sldId="214748538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302339406" sldId="214748538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49619996" sldId="214748538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805056184" sldId="214748538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469654235" sldId="214748538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808557522" sldId="214748538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347293217" sldId="214748538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478462109" sldId="214748538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43747499" sldId="214748538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273065839" sldId="214748538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241530769" sldId="214748539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88699525" sldId="214748539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935439748" sldId="2147485392"/>
          </pc:sldLayoutMkLst>
        </pc:sldLayoutChg>
      </pc:sldMasterChg>
      <pc:sldMasterChg chg="del delSldLayout">
        <pc:chgData name="Kennie Pontoppidan" userId="0b66d239-c77c-454e-82ce-695a270d63fb" providerId="ADAL" clId="{8134002F-F1E2-4BA3-BA34-60C27907B015}" dt="2025-04-06T20:38:00.773" v="411"/>
        <pc:sldMasterMkLst>
          <pc:docMk/>
          <pc:sldMasterMk cId="864412662" sldId="2147485393"/>
        </pc:sldMasterMkLst>
        <pc:sldLayoutChg chg="del">
          <pc:chgData name="Kennie Pontoppidan" userId="0b66d239-c77c-454e-82ce-695a270d63fb" providerId="ADAL" clId="{8134002F-F1E2-4BA3-BA34-60C27907B015}" dt="2025-04-06T20:38:00.773" v="411"/>
          <pc:sldLayoutMkLst>
            <pc:docMk/>
            <pc:sldMasterMk cId="864412662" sldId="2147485393"/>
            <pc:sldLayoutMk cId="2363737685" sldId="2147485394"/>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77156931" sldId="2147485395"/>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394115975" sldId="2147485396"/>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883980467" sldId="2147485397"/>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825554083" sldId="2147485398"/>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09869377" sldId="2147485399"/>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388521409" sldId="2147485400"/>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459101948" sldId="2147485401"/>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253405411" sldId="2147485402"/>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732266941" sldId="2147485403"/>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663450639" sldId="2147485404"/>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397935885" sldId="2147485405"/>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4042068354" sldId="2147485406"/>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192607742" sldId="2147485407"/>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800138155" sldId="2147485408"/>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272487307" sldId="2147485409"/>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120396667" sldId="2147485410"/>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634686260" sldId="2147485411"/>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228394321" sldId="2147485412"/>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39574532" sldId="2147485413"/>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588778180" sldId="2147485414"/>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273195254" sldId="2147485415"/>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787252274" sldId="2147485416"/>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717157973" sldId="2147485417"/>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814509886" sldId="2147485418"/>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994387304" sldId="2147485419"/>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89432639" sldId="2147485420"/>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034533037" sldId="2147485421"/>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242033336" sldId="2147485422"/>
          </pc:sldLayoutMkLst>
        </pc:sldLayoutChg>
      </pc:sldMasterChg>
      <pc:sldMasterChg chg="del delSldLayout">
        <pc:chgData name="Kennie Pontoppidan" userId="0b66d239-c77c-454e-82ce-695a270d63fb" providerId="ADAL" clId="{8134002F-F1E2-4BA3-BA34-60C27907B015}" dt="2025-04-06T20:38:00.773" v="411"/>
        <pc:sldMasterMkLst>
          <pc:docMk/>
          <pc:sldMasterMk cId="710050583" sldId="2147485551"/>
        </pc:sldMasterMkLst>
        <pc:sldLayoutChg chg="del">
          <pc:chgData name="Kennie Pontoppidan" userId="0b66d239-c77c-454e-82ce-695a270d63fb" providerId="ADAL" clId="{8134002F-F1E2-4BA3-BA34-60C27907B015}" dt="2025-04-06T20:38:00.773" v="411"/>
          <pc:sldLayoutMkLst>
            <pc:docMk/>
            <pc:sldMasterMk cId="710050583" sldId="2147485551"/>
            <pc:sldLayoutMk cId="2124611597" sldId="214748555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91347522" sldId="214748555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9766987" sldId="214748555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197373084" sldId="214748555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168551873" sldId="214748555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676880335" sldId="214748555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79492477" sldId="214748555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452615669" sldId="214748555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370024298" sldId="214748556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170590191" sldId="214748556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063227296" sldId="214748556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425394109" sldId="214748556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77046577" sldId="214748556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832016981" sldId="214748556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825713971" sldId="214748556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727427229" sldId="214748556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395785552" sldId="214748556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29643277" sldId="214748556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517890458" sldId="214748557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46477456" sldId="214748557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119428969" sldId="214748557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4081980126" sldId="214748557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984436633" sldId="214748557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21656569" sldId="214748557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348790036" sldId="214748557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197423078" sldId="214748557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454253045" sldId="214748557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717134072" sldId="214748557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460790843" sldId="214748558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228494895" sldId="214748558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393188028" sldId="214748558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199275924" sldId="214748558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92029054" sldId="214748558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728092817" sldId="214748558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03916075" sldId="214748558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940547752" sldId="214748558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234655733" sldId="214748558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95740303" sldId="214748558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308245396" sldId="214748559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980405919" sldId="214748559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276617986" sldId="214748559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45581569" sldId="214748559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67398633" sldId="214748559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743875788" sldId="214748559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623105374" sldId="214748559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348637044" sldId="214748559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232200799" sldId="214748559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260843332" sldId="214748559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4032192641" sldId="214748560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660433197" sldId="214748560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745417209" sldId="214748560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542425361" sldId="214748560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952677523" sldId="214748560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657250717" sldId="214748560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917516590" sldId="214748560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208313976" sldId="214748560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676429563" sldId="2147485608"/>
          </pc:sldLayoutMkLst>
        </pc:sldLayoutChg>
      </pc:sldMasterChg>
      <pc:sldMasterChg chg="del delSldLayout">
        <pc:chgData name="Kennie Pontoppidan" userId="0b66d239-c77c-454e-82ce-695a270d63fb" providerId="ADAL" clId="{8134002F-F1E2-4BA3-BA34-60C27907B015}" dt="2025-04-06T20:38:00.773" v="411"/>
        <pc:sldMasterMkLst>
          <pc:docMk/>
          <pc:sldMasterMk cId="1328754361" sldId="2147485609"/>
        </pc:sldMasterMkLst>
        <pc:sldLayoutChg chg="del">
          <pc:chgData name="Kennie Pontoppidan" userId="0b66d239-c77c-454e-82ce-695a270d63fb" providerId="ADAL" clId="{8134002F-F1E2-4BA3-BA34-60C27907B015}" dt="2025-04-06T20:38:00.773" v="411"/>
          <pc:sldLayoutMkLst>
            <pc:docMk/>
            <pc:sldMasterMk cId="1328754361" sldId="2147485609"/>
            <pc:sldLayoutMk cId="360196142" sldId="214748561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249672445" sldId="214748561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077922167" sldId="214748561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965115546" sldId="214748561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110025762" sldId="214748561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217957162" sldId="214748561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75116343" sldId="214748561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040329687" sldId="214748561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410277779" sldId="214748561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664309894" sldId="214748561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28718907" sldId="214748562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92321984" sldId="214748562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0020604" sldId="214748562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88823825" sldId="214748562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471714749" sldId="214748562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655285454" sldId="214748562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070416288" sldId="214748562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381773535" sldId="214748562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785971754" sldId="214748562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923408623" sldId="214748562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34700132" sldId="214748563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16007978" sldId="214748563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74804516" sldId="214748563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329078981" sldId="214748563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284595044" sldId="214748563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08520928" sldId="214748563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62764942" sldId="214748563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281129617" sldId="214748563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99022254" sldId="214748563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107370007" sldId="214748563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507408934" sldId="214748564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97561747" sldId="214748564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88297612" sldId="214748564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097524476" sldId="214748564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953643272" sldId="214748564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88254481" sldId="214748564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315825419" sldId="214748564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057637676" sldId="214748564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882111801" sldId="214748564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29582619" sldId="214748564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636954712" sldId="214748565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05020673" sldId="214748565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280336930" sldId="214748565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51354675" sldId="214748565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153075691" sldId="214748565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416975996" sldId="214748565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004227361" sldId="214748565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023373084" sldId="214748565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73653307" sldId="214748565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953188244" sldId="214748565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01872452" sldId="214748566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74378539" sldId="214748566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12209531" sldId="214748566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521422152" sldId="214748566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114689847" sldId="214748566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642201333" sldId="214748566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25013528" sldId="214748566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869654620" sldId="214748566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1B1F99-331D-4A57-95D6-5FF19B83D0D7}" type="doc">
      <dgm:prSet loTypeId="urn:microsoft.com/office/officeart/2005/8/layout/process1" loCatId="process" qsTypeId="urn:microsoft.com/office/officeart/2005/8/quickstyle/simple1" qsCatId="simple" csTypeId="urn:microsoft.com/office/officeart/2005/8/colors/accent1_2" csCatId="accent1" phldr="1"/>
      <dgm:spPr/>
    </dgm:pt>
    <dgm:pt modelId="{2C54148D-7DFE-4595-8BB9-C564599C6276}">
      <dgm:prSet phldrT="[Text]"/>
      <dgm:spPr/>
      <dgm:t>
        <a:bodyPr/>
        <a:lstStyle/>
        <a:p>
          <a:r>
            <a:rPr lang="en-US"/>
            <a:t>Opportunity</a:t>
          </a:r>
          <a:endParaRPr lang="en-GB"/>
        </a:p>
      </dgm:t>
    </dgm:pt>
    <dgm:pt modelId="{9F3A9CD8-7527-40A6-A1C3-B30424776986}" type="parTrans" cxnId="{0443C924-0762-4AC8-BD45-719365BC1CF6}">
      <dgm:prSet/>
      <dgm:spPr/>
      <dgm:t>
        <a:bodyPr/>
        <a:lstStyle/>
        <a:p>
          <a:endParaRPr lang="en-GB"/>
        </a:p>
      </dgm:t>
    </dgm:pt>
    <dgm:pt modelId="{2D0E6CD9-3515-4688-8388-C439250DB5E8}" type="sibTrans" cxnId="{0443C924-0762-4AC8-BD45-719365BC1CF6}">
      <dgm:prSet/>
      <dgm:spPr/>
      <dgm:t>
        <a:bodyPr/>
        <a:lstStyle/>
        <a:p>
          <a:endParaRPr lang="en-GB"/>
        </a:p>
      </dgm:t>
    </dgm:pt>
    <dgm:pt modelId="{78CB6415-4687-4E6A-8F10-CDE2B230B22C}">
      <dgm:prSet phldrT="[Text]"/>
      <dgm:spPr/>
      <dgm:t>
        <a:bodyPr/>
        <a:lstStyle/>
        <a:p>
          <a:r>
            <a:rPr lang="en-US"/>
            <a:t>Quote</a:t>
          </a:r>
          <a:endParaRPr lang="en-GB"/>
        </a:p>
      </dgm:t>
    </dgm:pt>
    <dgm:pt modelId="{D492B57C-A226-4CCC-9551-70F2E336099F}" type="parTrans" cxnId="{6AD5D322-1094-4B0B-98FF-12F6684CE871}">
      <dgm:prSet/>
      <dgm:spPr/>
      <dgm:t>
        <a:bodyPr/>
        <a:lstStyle/>
        <a:p>
          <a:endParaRPr lang="en-GB"/>
        </a:p>
      </dgm:t>
    </dgm:pt>
    <dgm:pt modelId="{68526430-CA90-454D-B780-7F7600D720ED}" type="sibTrans" cxnId="{6AD5D322-1094-4B0B-98FF-12F6684CE871}">
      <dgm:prSet/>
      <dgm:spPr/>
      <dgm:t>
        <a:bodyPr/>
        <a:lstStyle/>
        <a:p>
          <a:endParaRPr lang="en-GB"/>
        </a:p>
      </dgm:t>
    </dgm:pt>
    <dgm:pt modelId="{F3AC870F-7CD5-4F9B-8CC2-CF32CEB5548F}">
      <dgm:prSet phldrT="[Text]"/>
      <dgm:spPr/>
      <dgm:t>
        <a:bodyPr/>
        <a:lstStyle/>
        <a:p>
          <a:r>
            <a:rPr lang="en-US"/>
            <a:t>Sales order</a:t>
          </a:r>
          <a:endParaRPr lang="en-GB"/>
        </a:p>
      </dgm:t>
    </dgm:pt>
    <dgm:pt modelId="{182774AB-CA02-47F0-AAA2-5B2DD6620AD2}" type="parTrans" cxnId="{027AAFFE-DA58-4B76-B9B0-CB074648C954}">
      <dgm:prSet/>
      <dgm:spPr/>
      <dgm:t>
        <a:bodyPr/>
        <a:lstStyle/>
        <a:p>
          <a:endParaRPr lang="en-GB"/>
        </a:p>
      </dgm:t>
    </dgm:pt>
    <dgm:pt modelId="{4B1FED5C-3D36-4B0D-93A5-724F0AF79337}" type="sibTrans" cxnId="{027AAFFE-DA58-4B76-B9B0-CB074648C954}">
      <dgm:prSet/>
      <dgm:spPr/>
      <dgm:t>
        <a:bodyPr/>
        <a:lstStyle/>
        <a:p>
          <a:endParaRPr lang="en-GB"/>
        </a:p>
      </dgm:t>
    </dgm:pt>
    <dgm:pt modelId="{FF16C8F3-BF31-4B75-8CE4-BEA58C44D324}">
      <dgm:prSet phldrT="[Text]"/>
      <dgm:spPr/>
      <dgm:t>
        <a:bodyPr/>
        <a:lstStyle/>
        <a:p>
          <a:r>
            <a:rPr lang="en-US"/>
            <a:t>Sales invoice</a:t>
          </a:r>
          <a:endParaRPr lang="en-GB"/>
        </a:p>
      </dgm:t>
    </dgm:pt>
    <dgm:pt modelId="{D77C2AD1-72A4-4AF3-A09E-4898E91135AB}" type="parTrans" cxnId="{15DAF917-53AD-4B30-8203-46FC25A76889}">
      <dgm:prSet/>
      <dgm:spPr/>
      <dgm:t>
        <a:bodyPr/>
        <a:lstStyle/>
        <a:p>
          <a:endParaRPr lang="en-GB"/>
        </a:p>
      </dgm:t>
    </dgm:pt>
    <dgm:pt modelId="{544CC8C0-CB69-46B9-88F0-1985901F0E85}" type="sibTrans" cxnId="{15DAF917-53AD-4B30-8203-46FC25A76889}">
      <dgm:prSet/>
      <dgm:spPr/>
      <dgm:t>
        <a:bodyPr/>
        <a:lstStyle/>
        <a:p>
          <a:endParaRPr lang="en-GB"/>
        </a:p>
      </dgm:t>
    </dgm:pt>
    <dgm:pt modelId="{64F2F003-AEC2-48A3-9610-A37A86D69823}">
      <dgm:prSet phldrT="[Text]"/>
      <dgm:spPr/>
      <dgm:t>
        <a:bodyPr/>
        <a:lstStyle/>
        <a:p>
          <a:r>
            <a:rPr lang="en-US"/>
            <a:t>(Return)</a:t>
          </a:r>
          <a:endParaRPr lang="en-GB"/>
        </a:p>
      </dgm:t>
    </dgm:pt>
    <dgm:pt modelId="{7B02246B-2AFA-4EF3-9BFD-A861943EE435}" type="parTrans" cxnId="{21672520-5F54-4760-96DA-D5A57069CC60}">
      <dgm:prSet/>
      <dgm:spPr/>
      <dgm:t>
        <a:bodyPr/>
        <a:lstStyle/>
        <a:p>
          <a:endParaRPr lang="en-GB"/>
        </a:p>
      </dgm:t>
    </dgm:pt>
    <dgm:pt modelId="{66ECD148-2063-420F-A61C-390D6ED74236}" type="sibTrans" cxnId="{21672520-5F54-4760-96DA-D5A57069CC60}">
      <dgm:prSet/>
      <dgm:spPr/>
      <dgm:t>
        <a:bodyPr/>
        <a:lstStyle/>
        <a:p>
          <a:endParaRPr lang="en-GB"/>
        </a:p>
      </dgm:t>
    </dgm:pt>
    <dgm:pt modelId="{08497675-40D0-4EE4-9622-42960C35C283}" type="pres">
      <dgm:prSet presAssocID="{D21B1F99-331D-4A57-95D6-5FF19B83D0D7}" presName="Name0" presStyleCnt="0">
        <dgm:presLayoutVars>
          <dgm:dir/>
          <dgm:resizeHandles val="exact"/>
        </dgm:presLayoutVars>
      </dgm:prSet>
      <dgm:spPr/>
    </dgm:pt>
    <dgm:pt modelId="{50E6362E-8C72-4940-9B9F-73DDB4781B18}" type="pres">
      <dgm:prSet presAssocID="{2C54148D-7DFE-4595-8BB9-C564599C6276}" presName="node" presStyleLbl="node1" presStyleIdx="0" presStyleCnt="5">
        <dgm:presLayoutVars>
          <dgm:bulletEnabled val="1"/>
        </dgm:presLayoutVars>
      </dgm:prSet>
      <dgm:spPr/>
    </dgm:pt>
    <dgm:pt modelId="{6FC868EA-D449-4F7D-8C3E-DA13CEAE1F59}" type="pres">
      <dgm:prSet presAssocID="{2D0E6CD9-3515-4688-8388-C439250DB5E8}" presName="sibTrans" presStyleLbl="sibTrans2D1" presStyleIdx="0" presStyleCnt="4"/>
      <dgm:spPr/>
    </dgm:pt>
    <dgm:pt modelId="{4DD98F55-5419-4C19-9BBE-EF9807700CEB}" type="pres">
      <dgm:prSet presAssocID="{2D0E6CD9-3515-4688-8388-C439250DB5E8}" presName="connectorText" presStyleLbl="sibTrans2D1" presStyleIdx="0" presStyleCnt="4"/>
      <dgm:spPr/>
    </dgm:pt>
    <dgm:pt modelId="{C2098E8A-F15E-4298-B04E-D88C1736260D}" type="pres">
      <dgm:prSet presAssocID="{78CB6415-4687-4E6A-8F10-CDE2B230B22C}" presName="node" presStyleLbl="node1" presStyleIdx="1" presStyleCnt="5">
        <dgm:presLayoutVars>
          <dgm:bulletEnabled val="1"/>
        </dgm:presLayoutVars>
      </dgm:prSet>
      <dgm:spPr/>
    </dgm:pt>
    <dgm:pt modelId="{C0036A29-791E-442F-8AA9-F8B6A7584356}" type="pres">
      <dgm:prSet presAssocID="{68526430-CA90-454D-B780-7F7600D720ED}" presName="sibTrans" presStyleLbl="sibTrans2D1" presStyleIdx="1" presStyleCnt="4"/>
      <dgm:spPr/>
    </dgm:pt>
    <dgm:pt modelId="{56CF0E72-134D-4C94-9F02-F5DD4297AEBE}" type="pres">
      <dgm:prSet presAssocID="{68526430-CA90-454D-B780-7F7600D720ED}" presName="connectorText" presStyleLbl="sibTrans2D1" presStyleIdx="1" presStyleCnt="4"/>
      <dgm:spPr/>
    </dgm:pt>
    <dgm:pt modelId="{7D44C98C-4B6F-42BD-A01F-5E07BB7DAAAB}" type="pres">
      <dgm:prSet presAssocID="{F3AC870F-7CD5-4F9B-8CC2-CF32CEB5548F}" presName="node" presStyleLbl="node1" presStyleIdx="2" presStyleCnt="5">
        <dgm:presLayoutVars>
          <dgm:bulletEnabled val="1"/>
        </dgm:presLayoutVars>
      </dgm:prSet>
      <dgm:spPr/>
    </dgm:pt>
    <dgm:pt modelId="{A302359D-4663-4585-814B-C87CB8D9C398}" type="pres">
      <dgm:prSet presAssocID="{4B1FED5C-3D36-4B0D-93A5-724F0AF79337}" presName="sibTrans" presStyleLbl="sibTrans2D1" presStyleIdx="2" presStyleCnt="4"/>
      <dgm:spPr/>
    </dgm:pt>
    <dgm:pt modelId="{56084520-3C20-400B-B914-8A041F2B554E}" type="pres">
      <dgm:prSet presAssocID="{4B1FED5C-3D36-4B0D-93A5-724F0AF79337}" presName="connectorText" presStyleLbl="sibTrans2D1" presStyleIdx="2" presStyleCnt="4"/>
      <dgm:spPr/>
    </dgm:pt>
    <dgm:pt modelId="{81B0FC06-9AF7-41A6-B665-96E76F24D352}" type="pres">
      <dgm:prSet presAssocID="{FF16C8F3-BF31-4B75-8CE4-BEA58C44D324}" presName="node" presStyleLbl="node1" presStyleIdx="3" presStyleCnt="5">
        <dgm:presLayoutVars>
          <dgm:bulletEnabled val="1"/>
        </dgm:presLayoutVars>
      </dgm:prSet>
      <dgm:spPr/>
    </dgm:pt>
    <dgm:pt modelId="{A519289F-7CA6-47C5-9EEE-A868073F15E1}" type="pres">
      <dgm:prSet presAssocID="{544CC8C0-CB69-46B9-88F0-1985901F0E85}" presName="sibTrans" presStyleLbl="sibTrans2D1" presStyleIdx="3" presStyleCnt="4"/>
      <dgm:spPr/>
    </dgm:pt>
    <dgm:pt modelId="{C62572C8-3533-4A32-8FDB-75F202148169}" type="pres">
      <dgm:prSet presAssocID="{544CC8C0-CB69-46B9-88F0-1985901F0E85}" presName="connectorText" presStyleLbl="sibTrans2D1" presStyleIdx="3" presStyleCnt="4"/>
      <dgm:spPr/>
    </dgm:pt>
    <dgm:pt modelId="{CA864C80-0525-43E1-8316-6AA978064A18}" type="pres">
      <dgm:prSet presAssocID="{64F2F003-AEC2-48A3-9610-A37A86D69823}" presName="node" presStyleLbl="node1" presStyleIdx="4" presStyleCnt="5">
        <dgm:presLayoutVars>
          <dgm:bulletEnabled val="1"/>
        </dgm:presLayoutVars>
      </dgm:prSet>
      <dgm:spPr/>
    </dgm:pt>
  </dgm:ptLst>
  <dgm:cxnLst>
    <dgm:cxn modelId="{A1736B0C-D3F8-45B3-9D52-B6E3BB26B929}" type="presOf" srcId="{4B1FED5C-3D36-4B0D-93A5-724F0AF79337}" destId="{56084520-3C20-400B-B914-8A041F2B554E}" srcOrd="1" destOrd="0" presId="urn:microsoft.com/office/officeart/2005/8/layout/process1"/>
    <dgm:cxn modelId="{15DAF917-53AD-4B30-8203-46FC25A76889}" srcId="{D21B1F99-331D-4A57-95D6-5FF19B83D0D7}" destId="{FF16C8F3-BF31-4B75-8CE4-BEA58C44D324}" srcOrd="3" destOrd="0" parTransId="{D77C2AD1-72A4-4AF3-A09E-4898E91135AB}" sibTransId="{544CC8C0-CB69-46B9-88F0-1985901F0E85}"/>
    <dgm:cxn modelId="{5BD5281C-874A-4258-8E2B-345AFDD774A0}" type="presOf" srcId="{F3AC870F-7CD5-4F9B-8CC2-CF32CEB5548F}" destId="{7D44C98C-4B6F-42BD-A01F-5E07BB7DAAAB}" srcOrd="0" destOrd="0" presId="urn:microsoft.com/office/officeart/2005/8/layout/process1"/>
    <dgm:cxn modelId="{21672520-5F54-4760-96DA-D5A57069CC60}" srcId="{D21B1F99-331D-4A57-95D6-5FF19B83D0D7}" destId="{64F2F003-AEC2-48A3-9610-A37A86D69823}" srcOrd="4" destOrd="0" parTransId="{7B02246B-2AFA-4EF3-9BFD-A861943EE435}" sibTransId="{66ECD148-2063-420F-A61C-390D6ED74236}"/>
    <dgm:cxn modelId="{6AD5D322-1094-4B0B-98FF-12F6684CE871}" srcId="{D21B1F99-331D-4A57-95D6-5FF19B83D0D7}" destId="{78CB6415-4687-4E6A-8F10-CDE2B230B22C}" srcOrd="1" destOrd="0" parTransId="{D492B57C-A226-4CCC-9551-70F2E336099F}" sibTransId="{68526430-CA90-454D-B780-7F7600D720ED}"/>
    <dgm:cxn modelId="{0443C924-0762-4AC8-BD45-719365BC1CF6}" srcId="{D21B1F99-331D-4A57-95D6-5FF19B83D0D7}" destId="{2C54148D-7DFE-4595-8BB9-C564599C6276}" srcOrd="0" destOrd="0" parTransId="{9F3A9CD8-7527-40A6-A1C3-B30424776986}" sibTransId="{2D0E6CD9-3515-4688-8388-C439250DB5E8}"/>
    <dgm:cxn modelId="{00AD3126-BD27-425D-B952-91987A79B7E7}" type="presOf" srcId="{2C54148D-7DFE-4595-8BB9-C564599C6276}" destId="{50E6362E-8C72-4940-9B9F-73DDB4781B18}" srcOrd="0" destOrd="0" presId="urn:microsoft.com/office/officeart/2005/8/layout/process1"/>
    <dgm:cxn modelId="{28D57232-2317-4A1A-9B72-16B5908B27FA}" type="presOf" srcId="{2D0E6CD9-3515-4688-8388-C439250DB5E8}" destId="{4DD98F55-5419-4C19-9BBE-EF9807700CEB}" srcOrd="1" destOrd="0" presId="urn:microsoft.com/office/officeart/2005/8/layout/process1"/>
    <dgm:cxn modelId="{3501456C-B917-4F71-A5A8-C37AEB756556}" type="presOf" srcId="{FF16C8F3-BF31-4B75-8CE4-BEA58C44D324}" destId="{81B0FC06-9AF7-41A6-B665-96E76F24D352}" srcOrd="0" destOrd="0" presId="urn:microsoft.com/office/officeart/2005/8/layout/process1"/>
    <dgm:cxn modelId="{1F7BFB58-414C-483E-B955-951C324AB8F7}" type="presOf" srcId="{78CB6415-4687-4E6A-8F10-CDE2B230B22C}" destId="{C2098E8A-F15E-4298-B04E-D88C1736260D}" srcOrd="0" destOrd="0" presId="urn:microsoft.com/office/officeart/2005/8/layout/process1"/>
    <dgm:cxn modelId="{1C3BF283-C1A6-43EA-9447-15D65DDBE669}" type="presOf" srcId="{D21B1F99-331D-4A57-95D6-5FF19B83D0D7}" destId="{08497675-40D0-4EE4-9622-42960C35C283}" srcOrd="0" destOrd="0" presId="urn:microsoft.com/office/officeart/2005/8/layout/process1"/>
    <dgm:cxn modelId="{AA4E9893-FE66-4245-8731-A8115E8F9ECA}" type="presOf" srcId="{544CC8C0-CB69-46B9-88F0-1985901F0E85}" destId="{C62572C8-3533-4A32-8FDB-75F202148169}" srcOrd="1" destOrd="0" presId="urn:microsoft.com/office/officeart/2005/8/layout/process1"/>
    <dgm:cxn modelId="{3E836998-55A0-4BB0-958F-23D9905E2DB6}" type="presOf" srcId="{68526430-CA90-454D-B780-7F7600D720ED}" destId="{56CF0E72-134D-4C94-9F02-F5DD4297AEBE}" srcOrd="1" destOrd="0" presId="urn:microsoft.com/office/officeart/2005/8/layout/process1"/>
    <dgm:cxn modelId="{589040A6-5744-413A-9B4C-09B24014B2E0}" type="presOf" srcId="{2D0E6CD9-3515-4688-8388-C439250DB5E8}" destId="{6FC868EA-D449-4F7D-8C3E-DA13CEAE1F59}" srcOrd="0" destOrd="0" presId="urn:microsoft.com/office/officeart/2005/8/layout/process1"/>
    <dgm:cxn modelId="{433278A8-A238-4531-A75C-9F6A25F98BAC}" type="presOf" srcId="{4B1FED5C-3D36-4B0D-93A5-724F0AF79337}" destId="{A302359D-4663-4585-814B-C87CB8D9C398}" srcOrd="0" destOrd="0" presId="urn:microsoft.com/office/officeart/2005/8/layout/process1"/>
    <dgm:cxn modelId="{83816FAA-965D-4321-8211-EF6FFB03D66D}" type="presOf" srcId="{68526430-CA90-454D-B780-7F7600D720ED}" destId="{C0036A29-791E-442F-8AA9-F8B6A7584356}" srcOrd="0" destOrd="0" presId="urn:microsoft.com/office/officeart/2005/8/layout/process1"/>
    <dgm:cxn modelId="{7EC942D9-2E67-481F-AD31-58E90B0C9C62}" type="presOf" srcId="{64F2F003-AEC2-48A3-9610-A37A86D69823}" destId="{CA864C80-0525-43E1-8316-6AA978064A18}" srcOrd="0" destOrd="0" presId="urn:microsoft.com/office/officeart/2005/8/layout/process1"/>
    <dgm:cxn modelId="{027AAFFE-DA58-4B76-B9B0-CB074648C954}" srcId="{D21B1F99-331D-4A57-95D6-5FF19B83D0D7}" destId="{F3AC870F-7CD5-4F9B-8CC2-CF32CEB5548F}" srcOrd="2" destOrd="0" parTransId="{182774AB-CA02-47F0-AAA2-5B2DD6620AD2}" sibTransId="{4B1FED5C-3D36-4B0D-93A5-724F0AF79337}"/>
    <dgm:cxn modelId="{1DC0BEFF-263F-4026-9FB2-881049D2CB02}" type="presOf" srcId="{544CC8C0-CB69-46B9-88F0-1985901F0E85}" destId="{A519289F-7CA6-47C5-9EEE-A868073F15E1}" srcOrd="0" destOrd="0" presId="urn:microsoft.com/office/officeart/2005/8/layout/process1"/>
    <dgm:cxn modelId="{EBD9D2B6-DD01-4921-859D-F959F91B58BD}" type="presParOf" srcId="{08497675-40D0-4EE4-9622-42960C35C283}" destId="{50E6362E-8C72-4940-9B9F-73DDB4781B18}" srcOrd="0" destOrd="0" presId="urn:microsoft.com/office/officeart/2005/8/layout/process1"/>
    <dgm:cxn modelId="{EAB3973F-F5FF-4726-BA12-D6C7CFC0A8E5}" type="presParOf" srcId="{08497675-40D0-4EE4-9622-42960C35C283}" destId="{6FC868EA-D449-4F7D-8C3E-DA13CEAE1F59}" srcOrd="1" destOrd="0" presId="urn:microsoft.com/office/officeart/2005/8/layout/process1"/>
    <dgm:cxn modelId="{9087AF47-9A0B-4153-8457-E71CE315C9D0}" type="presParOf" srcId="{6FC868EA-D449-4F7D-8C3E-DA13CEAE1F59}" destId="{4DD98F55-5419-4C19-9BBE-EF9807700CEB}" srcOrd="0" destOrd="0" presId="urn:microsoft.com/office/officeart/2005/8/layout/process1"/>
    <dgm:cxn modelId="{84E6217E-FBE5-4068-A9CA-189A07A6521E}" type="presParOf" srcId="{08497675-40D0-4EE4-9622-42960C35C283}" destId="{C2098E8A-F15E-4298-B04E-D88C1736260D}" srcOrd="2" destOrd="0" presId="urn:microsoft.com/office/officeart/2005/8/layout/process1"/>
    <dgm:cxn modelId="{2D2B918A-6A10-4224-8286-9968797EB238}" type="presParOf" srcId="{08497675-40D0-4EE4-9622-42960C35C283}" destId="{C0036A29-791E-442F-8AA9-F8B6A7584356}" srcOrd="3" destOrd="0" presId="urn:microsoft.com/office/officeart/2005/8/layout/process1"/>
    <dgm:cxn modelId="{37D5805A-B2B1-464E-85E0-0DF6FCC3FA07}" type="presParOf" srcId="{C0036A29-791E-442F-8AA9-F8B6A7584356}" destId="{56CF0E72-134D-4C94-9F02-F5DD4297AEBE}" srcOrd="0" destOrd="0" presId="urn:microsoft.com/office/officeart/2005/8/layout/process1"/>
    <dgm:cxn modelId="{C66DF703-298E-49B8-846F-AACE3BC07829}" type="presParOf" srcId="{08497675-40D0-4EE4-9622-42960C35C283}" destId="{7D44C98C-4B6F-42BD-A01F-5E07BB7DAAAB}" srcOrd="4" destOrd="0" presId="urn:microsoft.com/office/officeart/2005/8/layout/process1"/>
    <dgm:cxn modelId="{9A5735EC-62F3-40B6-BD6C-76C410336AFB}" type="presParOf" srcId="{08497675-40D0-4EE4-9622-42960C35C283}" destId="{A302359D-4663-4585-814B-C87CB8D9C398}" srcOrd="5" destOrd="0" presId="urn:microsoft.com/office/officeart/2005/8/layout/process1"/>
    <dgm:cxn modelId="{0610293C-D0BE-49C9-B567-18297CC0AB89}" type="presParOf" srcId="{A302359D-4663-4585-814B-C87CB8D9C398}" destId="{56084520-3C20-400B-B914-8A041F2B554E}" srcOrd="0" destOrd="0" presId="urn:microsoft.com/office/officeart/2005/8/layout/process1"/>
    <dgm:cxn modelId="{C1F19AA1-5463-4294-BDCA-76C36A759E1D}" type="presParOf" srcId="{08497675-40D0-4EE4-9622-42960C35C283}" destId="{81B0FC06-9AF7-41A6-B665-96E76F24D352}" srcOrd="6" destOrd="0" presId="urn:microsoft.com/office/officeart/2005/8/layout/process1"/>
    <dgm:cxn modelId="{3719229B-5664-4F9F-95FD-9541EDEAEA4A}" type="presParOf" srcId="{08497675-40D0-4EE4-9622-42960C35C283}" destId="{A519289F-7CA6-47C5-9EEE-A868073F15E1}" srcOrd="7" destOrd="0" presId="urn:microsoft.com/office/officeart/2005/8/layout/process1"/>
    <dgm:cxn modelId="{C9ED6819-1EA4-4116-BFD4-AABFCF817767}" type="presParOf" srcId="{A519289F-7CA6-47C5-9EEE-A868073F15E1}" destId="{C62572C8-3533-4A32-8FDB-75F202148169}" srcOrd="0" destOrd="0" presId="urn:microsoft.com/office/officeart/2005/8/layout/process1"/>
    <dgm:cxn modelId="{C652434E-8826-4436-9FC7-AA575F877DE8}" type="presParOf" srcId="{08497675-40D0-4EE4-9622-42960C35C283}" destId="{CA864C80-0525-43E1-8316-6AA978064A18}"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E6362E-8C72-4940-9B9F-73DDB4781B18}">
      <dsp:nvSpPr>
        <dsp:cNvPr id="0" name=""/>
        <dsp:cNvSpPr/>
      </dsp:nvSpPr>
      <dsp:spPr>
        <a:xfrm>
          <a:off x="5395"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Opportunity</a:t>
          </a:r>
          <a:endParaRPr lang="en-GB" sz="2100" kern="1200"/>
        </a:p>
      </dsp:txBody>
      <dsp:txXfrm>
        <a:off x="34787" y="1826753"/>
        <a:ext cx="1613764" cy="944744"/>
      </dsp:txXfrm>
    </dsp:sp>
    <dsp:sp modelId="{6FC868EA-D449-4F7D-8C3E-DA13CEAE1F59}">
      <dsp:nvSpPr>
        <dsp:cNvPr id="0" name=""/>
        <dsp:cNvSpPr/>
      </dsp:nvSpPr>
      <dsp:spPr>
        <a:xfrm>
          <a:off x="1845198"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1845198" y="2174687"/>
        <a:ext cx="248206" cy="248875"/>
      </dsp:txXfrm>
    </dsp:sp>
    <dsp:sp modelId="{C2098E8A-F15E-4298-B04E-D88C1736260D}">
      <dsp:nvSpPr>
        <dsp:cNvPr id="0" name=""/>
        <dsp:cNvSpPr/>
      </dsp:nvSpPr>
      <dsp:spPr>
        <a:xfrm>
          <a:off x="2346962"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Quote</a:t>
          </a:r>
          <a:endParaRPr lang="en-GB" sz="2100" kern="1200"/>
        </a:p>
      </dsp:txBody>
      <dsp:txXfrm>
        <a:off x="2376354" y="1826753"/>
        <a:ext cx="1613764" cy="944744"/>
      </dsp:txXfrm>
    </dsp:sp>
    <dsp:sp modelId="{C0036A29-791E-442F-8AA9-F8B6A7584356}">
      <dsp:nvSpPr>
        <dsp:cNvPr id="0" name=""/>
        <dsp:cNvSpPr/>
      </dsp:nvSpPr>
      <dsp:spPr>
        <a:xfrm>
          <a:off x="4186765"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4186765" y="2174687"/>
        <a:ext cx="248206" cy="248875"/>
      </dsp:txXfrm>
    </dsp:sp>
    <dsp:sp modelId="{7D44C98C-4B6F-42BD-A01F-5E07BB7DAAAB}">
      <dsp:nvSpPr>
        <dsp:cNvPr id="0" name=""/>
        <dsp:cNvSpPr/>
      </dsp:nvSpPr>
      <dsp:spPr>
        <a:xfrm>
          <a:off x="4688530"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Sales order</a:t>
          </a:r>
          <a:endParaRPr lang="en-GB" sz="2100" kern="1200"/>
        </a:p>
      </dsp:txBody>
      <dsp:txXfrm>
        <a:off x="4717922" y="1826753"/>
        <a:ext cx="1613764" cy="944744"/>
      </dsp:txXfrm>
    </dsp:sp>
    <dsp:sp modelId="{A302359D-4663-4585-814B-C87CB8D9C398}">
      <dsp:nvSpPr>
        <dsp:cNvPr id="0" name=""/>
        <dsp:cNvSpPr/>
      </dsp:nvSpPr>
      <dsp:spPr>
        <a:xfrm>
          <a:off x="6528333"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6528333" y="2174687"/>
        <a:ext cx="248206" cy="248875"/>
      </dsp:txXfrm>
    </dsp:sp>
    <dsp:sp modelId="{81B0FC06-9AF7-41A6-B665-96E76F24D352}">
      <dsp:nvSpPr>
        <dsp:cNvPr id="0" name=""/>
        <dsp:cNvSpPr/>
      </dsp:nvSpPr>
      <dsp:spPr>
        <a:xfrm>
          <a:off x="7030097"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Sales invoice</a:t>
          </a:r>
          <a:endParaRPr lang="en-GB" sz="2100" kern="1200"/>
        </a:p>
      </dsp:txBody>
      <dsp:txXfrm>
        <a:off x="7059489" y="1826753"/>
        <a:ext cx="1613764" cy="944744"/>
      </dsp:txXfrm>
    </dsp:sp>
    <dsp:sp modelId="{A519289F-7CA6-47C5-9EEE-A868073F15E1}">
      <dsp:nvSpPr>
        <dsp:cNvPr id="0" name=""/>
        <dsp:cNvSpPr/>
      </dsp:nvSpPr>
      <dsp:spPr>
        <a:xfrm>
          <a:off x="8869900"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8869900" y="2174687"/>
        <a:ext cx="248206" cy="248875"/>
      </dsp:txXfrm>
    </dsp:sp>
    <dsp:sp modelId="{CA864C80-0525-43E1-8316-6AA978064A18}">
      <dsp:nvSpPr>
        <dsp:cNvPr id="0" name=""/>
        <dsp:cNvSpPr/>
      </dsp:nvSpPr>
      <dsp:spPr>
        <a:xfrm>
          <a:off x="9371665"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Return)</a:t>
          </a:r>
          <a:endParaRPr lang="en-GB" sz="2100" kern="1200"/>
        </a:p>
      </dsp:txBody>
      <dsp:txXfrm>
        <a:off x="9401057" y="1826753"/>
        <a:ext cx="1613764" cy="94474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4/10/2025 5:41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4/10/2025 5:4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21E5A7B-BB8D-4368-A182-109669521632}" type="datetime8">
              <a:rPr lang="en-US" smtClean="0"/>
              <a:t>4/10/2025 5:4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91663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71A3D-E54D-75F1-A39F-5C7C95F802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807335-FB55-E361-F0D6-F10F94A43F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0CDD95-3495-7B7F-E098-12F7EFAF6D1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2BA4B37-71E7-CCF1-36F9-8270BAD020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20366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4428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FF6394-DD6C-2121-9ED5-65A9FDB844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CD0EA5-9995-49A0-97E4-898E8832A1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6231DA-1805-6D2C-8AC3-327801EB0F36}"/>
              </a:ext>
            </a:extLst>
          </p:cNvPr>
          <p:cNvSpPr>
            <a:spLocks noGrp="1"/>
          </p:cNvSpPr>
          <p:nvPr>
            <p:ph type="body" idx="1"/>
          </p:nvPr>
        </p:nvSpPr>
        <p:spPr/>
        <p:txBody>
          <a:bodyPr/>
          <a:lstStyle/>
          <a:p>
            <a:r>
              <a:rPr lang="en-US"/>
              <a:t>Keep report, deprecate RDL layout, add Word + Excel layouts</a:t>
            </a:r>
            <a:endParaRPr lang="en-GB"/>
          </a:p>
        </p:txBody>
      </p:sp>
      <p:sp>
        <p:nvSpPr>
          <p:cNvPr id="4" name="Slide Number Placeholder 3">
            <a:extLst>
              <a:ext uri="{FF2B5EF4-FFF2-40B4-BE49-F238E27FC236}">
                <a16:creationId xmlns:a16="http://schemas.microsoft.com/office/drawing/2014/main" id="{FC13D7E8-05EF-7A25-4F13-C3211B4ADA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2847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6B0CE-4789-1A00-EA8A-B7F003BE7B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49706-9DE4-5881-F3D3-36CAF3E5E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7BFB8F-9365-D274-1F66-0C65E3D70C6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F567029-DAD6-977D-D253-C9EB8D01C9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7311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36993-B13F-7F0C-7D11-C1E60FD384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D2ED23-847C-E104-01FC-866D87E696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11F55D-3CA2-BAAC-6693-E308E9809150}"/>
              </a:ext>
            </a:extLst>
          </p:cNvPr>
          <p:cNvSpPr>
            <a:spLocks noGrp="1"/>
          </p:cNvSpPr>
          <p:nvPr>
            <p:ph type="body" idx="1"/>
          </p:nvPr>
        </p:nvSpPr>
        <p:spPr/>
        <p:txBody>
          <a:bodyPr/>
          <a:lstStyle/>
          <a:p>
            <a:r>
              <a:rPr lang="en-US"/>
              <a:t>Keep report, deprecate RDL layout, add Word + Excel layouts</a:t>
            </a:r>
            <a:endParaRPr lang="en-GB"/>
          </a:p>
        </p:txBody>
      </p:sp>
      <p:sp>
        <p:nvSpPr>
          <p:cNvPr id="4" name="Slide Number Placeholder 3">
            <a:extLst>
              <a:ext uri="{FF2B5EF4-FFF2-40B4-BE49-F238E27FC236}">
                <a16:creationId xmlns:a16="http://schemas.microsoft.com/office/drawing/2014/main" id="{CA658D8E-15A5-7C71-8434-787742D575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7982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B9697-7C9D-7D57-6C6C-FB54E2FFD7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F69F5C-2DE6-BE24-1F45-A319A6082E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C66628-BB95-8085-DE7F-7E34AB0A0B9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4854E17-A93D-4C03-4CAD-575FC5F0F9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398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F70D5-0473-4EF4-F4EE-12410691C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E62D4D-202E-345D-81B5-37B3402251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BAD65D-1F09-F761-A75C-F3234711F2B6}"/>
              </a:ext>
            </a:extLst>
          </p:cNvPr>
          <p:cNvSpPr>
            <a:spLocks noGrp="1"/>
          </p:cNvSpPr>
          <p:nvPr>
            <p:ph type="body" idx="1"/>
          </p:nvPr>
        </p:nvSpPr>
        <p:spPr/>
        <p:txBody>
          <a:bodyPr/>
          <a:lstStyle/>
          <a:p>
            <a:r>
              <a:rPr lang="en-US"/>
              <a:t>Keep report, deprecate RDL layout, add Word + Excel layouts</a:t>
            </a:r>
            <a:endParaRPr lang="en-GB"/>
          </a:p>
        </p:txBody>
      </p:sp>
      <p:sp>
        <p:nvSpPr>
          <p:cNvPr id="4" name="Slide Number Placeholder 3">
            <a:extLst>
              <a:ext uri="{FF2B5EF4-FFF2-40B4-BE49-F238E27FC236}">
                <a16:creationId xmlns:a16="http://schemas.microsoft.com/office/drawing/2014/main" id="{A2507D08-40A2-261F-496A-168B33E709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715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5B55A-C135-8C26-5EE7-7D18CE9543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EAC834-920D-5B16-1D37-378F36B1E2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3305FA-C9D8-B234-83EB-6C25C2A5ED0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D941331-CE94-68F6-A028-37A1F536D8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5957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2601E-2364-EEF8-3D06-C1F40D9C90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E41530-D310-0C95-4110-DC3A11E16D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7FC400-CF32-5C8A-6A60-74A8E246C42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9EE16A5-7E09-B299-E748-F7D1E1FF2A4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6415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A45F0-E4DB-576F-D170-9C640196F6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90A446-AD54-E4FF-66A9-1C3C364AB9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301FA9-48A2-57E8-BABC-DBF277ECF86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1A3E9E2-D4A5-AF1C-1FE4-DF7F0AF990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248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This slice shows </a:t>
            </a:r>
            <a:r>
              <a:rPr lang="da-DK" err="1"/>
              <a:t>where</a:t>
            </a:r>
            <a:r>
              <a:rPr lang="da-DK"/>
              <a:t> Power BI, Data Analysis, and Excel fit </a:t>
            </a:r>
            <a:r>
              <a:rPr lang="da-DK" err="1"/>
              <a:t>into</a:t>
            </a:r>
            <a:r>
              <a:rPr lang="da-DK"/>
              <a:t> the </a:t>
            </a:r>
            <a:r>
              <a:rPr lang="da-DK" err="1"/>
              <a:t>analytics</a:t>
            </a:r>
            <a:r>
              <a:rPr lang="da-DK"/>
              <a:t> story</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A59917-220C-41DB-B2FB-D1D464D8E5A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981541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6D124-0AB3-F56E-BD8E-9094675C4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B1808B-9135-EB7E-1DDC-5B2160BE49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1410EB-6D5D-B18A-CDBA-1107A772838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2C598AB-1D4E-4C5E-8238-E4AC6FC9E4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86437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A1485-8A4C-B2E9-151D-BFCE06E527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26DC4F-4CAE-D6AC-C0C4-3164C8E5DD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EF4EA2-78D9-E696-F7E8-A28DA44503B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05B6E3B-5D3C-94A9-F653-03D6F237E5A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9244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52FC0-1ACF-E562-98A0-A4B25A8AB0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6652A9-7635-6814-418A-8017C5E5CB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49BE0F-B2D7-07F7-3043-34845F76454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93C0314-DA8C-BE13-9DCD-8DE9C792620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8995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E8DB9-AD53-E89A-A9FC-889BF5AB54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506F5E-57B1-0B38-1B75-AE44106494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30F05A-BFCB-2BA2-BB12-54DCCB4DAFE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7D661B9-4B1D-85B8-100C-C63A1147A3A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67594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690EE-E014-D0CD-7420-8899ADF1D1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E3345C-60DF-E131-4B94-51E2587560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C627E9-5B20-65CC-B1D4-AA38B510BDA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FC180E5-3D4A-6B50-ECC4-109104ADDBE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566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68B94-1C1D-F6BA-C141-F2AF491C42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4CAF8F-6CE7-FE97-C76D-000ECECF69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B8C469-A32C-299E-909D-69E47F93E4E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3E131B4-05C3-99A7-F0FD-08A6310EDBF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74596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03C56-CBE0-3204-2816-1E9B1D1AC9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572D51-EFF5-6376-ECCB-618C275108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D1960E-94BA-A9C7-8E9A-1CCD0E57B4A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13B2ADD-1124-E895-0271-F26831423C3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47616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909C7-C785-A008-1C09-415F0EB33F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7AB338-E27D-57D4-BF86-E60B3A9B4E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4FE1D6-4F8A-3796-085F-68DD3A76C93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11F3AA4-37D1-2F87-4860-D35247ECDD1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74677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Aged Accounts Receivabl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197057-FB2C-41F9-9329-4701B60A726B}"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17522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Sales Order Performance Analysi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197057-FB2C-41F9-9329-4701B60A726B}"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308971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96C79-65D6-512D-5A2D-04B123C51B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44698F-E638-ED33-26AF-5388D78A77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892CE9-D4F0-FDF1-C742-63AFCB3DF11C}"/>
              </a:ext>
            </a:extLst>
          </p:cNvPr>
          <p:cNvSpPr>
            <a:spLocks noGrp="1"/>
          </p:cNvSpPr>
          <p:nvPr>
            <p:ph type="body" idx="1"/>
          </p:nvPr>
        </p:nvSpPr>
        <p:spPr/>
        <p:txBody>
          <a:bodyPr/>
          <a:lstStyle/>
          <a:p>
            <a:r>
              <a:rPr lang="en-US" sz="1200" b="1">
                <a:effectLst/>
                <a:latin typeface="Aptos" panose="020B0004020202020204" pitchFamily="34" charset="0"/>
                <a:ea typeface="Aptos" panose="020B0004020202020204" pitchFamily="34" charset="0"/>
                <a:cs typeface="Aptos" panose="020B0004020202020204" pitchFamily="34" charset="0"/>
              </a:rPr>
              <a:t>Improved Data Analysis</a:t>
            </a:r>
            <a:endParaRPr lang="en-US" sz="120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for Week over Week analysis</a:t>
            </a: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for element counts</a:t>
            </a: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Tooltips</a:t>
            </a:r>
          </a:p>
          <a:p>
            <a:r>
              <a:rPr lang="en-US" sz="1200">
                <a:effectLst/>
                <a:latin typeface="Aptos" panose="020B0004020202020204" pitchFamily="34" charset="0"/>
                <a:ea typeface="Aptos" panose="020B0004020202020204" pitchFamily="34" charset="0"/>
                <a:cs typeface="Aptos" panose="020B0004020202020204" pitchFamily="34" charset="0"/>
              </a:rPr>
              <a:t> </a:t>
            </a:r>
          </a:p>
          <a:p>
            <a:r>
              <a:rPr lang="en-US" sz="1200" b="1">
                <a:effectLst/>
                <a:latin typeface="Aptos" panose="020B0004020202020204" pitchFamily="34" charset="0"/>
                <a:ea typeface="Aptos" panose="020B0004020202020204" pitchFamily="34" charset="0"/>
                <a:cs typeface="Aptos" panose="020B0004020202020204" pitchFamily="34" charset="0"/>
              </a:rPr>
              <a:t>Improved Document Reporting</a:t>
            </a:r>
            <a:endParaRPr lang="en-US" sz="120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sections in Word layouts</a:t>
            </a: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conditional formatting in Word layouts</a:t>
            </a:r>
          </a:p>
          <a:p>
            <a:pPr marL="342900" lvl="0" indent="-342900">
              <a:buFont typeface="Symbol" panose="05050102010706020507" pitchFamily="18" charset="2"/>
              <a:buChar char=""/>
            </a:pPr>
            <a:endParaRPr lang="en-US" sz="1200">
              <a:effectLst/>
              <a:latin typeface="Aptos" panose="020B0004020202020204" pitchFamily="34" charset="0"/>
              <a:ea typeface="Times New Roman" panose="02020603050405020304" pitchFamily="18" charset="0"/>
              <a:cs typeface="Aptos" panose="020B0004020202020204" pitchFamily="34" charset="0"/>
            </a:endParaRPr>
          </a:p>
          <a:p>
            <a:pPr>
              <a:spcBef>
                <a:spcPct val="20000"/>
              </a:spcBef>
            </a:pPr>
            <a:r>
              <a:rPr lang="en-US"/>
              <a:t>Searching for all </a:t>
            </a:r>
            <a:r>
              <a:rPr lang="en-US" b="1"/>
              <a:t>words</a:t>
            </a:r>
            <a:r>
              <a:rPr lang="en-US"/>
              <a:t> rather than any substring</a:t>
            </a:r>
          </a:p>
          <a:p>
            <a:pPr>
              <a:spcBef>
                <a:spcPct val="20000"/>
              </a:spcBef>
            </a:pPr>
            <a:r>
              <a:rPr lang="en-US"/>
              <a:t>Significantly faster sear</a:t>
            </a:r>
          </a:p>
          <a:p>
            <a:pPr marL="342900" lvl="0" indent="-342900">
              <a:buFont typeface="Symbol" panose="05050102010706020507" pitchFamily="18" charset="2"/>
              <a:buChar char=""/>
            </a:pPr>
            <a:endParaRPr lang="en-US" sz="1200">
              <a:effectLst/>
              <a:latin typeface="Aptos" panose="020B0004020202020204" pitchFamily="34" charset="0"/>
              <a:ea typeface="Times New Roman" panose="02020603050405020304" pitchFamily="18" charset="0"/>
              <a:cs typeface="Aptos" panose="020B0004020202020204" pitchFamily="34" charset="0"/>
            </a:endParaRPr>
          </a:p>
          <a:p>
            <a:endParaRPr lang="LID4096"/>
          </a:p>
        </p:txBody>
      </p:sp>
      <p:sp>
        <p:nvSpPr>
          <p:cNvPr id="4" name="Slide Number Placeholder 3">
            <a:extLst>
              <a:ext uri="{FF2B5EF4-FFF2-40B4-BE49-F238E27FC236}">
                <a16:creationId xmlns:a16="http://schemas.microsoft.com/office/drawing/2014/main" id="{DB211024-6A6E-7F53-1686-42B4F6D371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0063D1-50B2-403A-8260-CE3A8429C896}"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08086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lnSpc>
                <a:spcPts val="3900"/>
              </a:lnSpc>
              <a:buNone/>
            </a:pPr>
            <a:r>
              <a:rPr lang="en-GB" sz="1800" b="0" i="0" u="none" strike="noStrike">
                <a:solidFill>
                  <a:srgbClr val="000000"/>
                </a:solidFill>
                <a:effectLst/>
                <a:latin typeface="Segoe UI" panose="020B0502040204020203" pitchFamily="34" charset="0"/>
              </a:rPr>
              <a:t>Back in 2023 release wave 2 we launched the </a:t>
            </a:r>
            <a:r>
              <a:rPr lang="en-GB" sz="1800" b="1" i="0" u="none" strike="noStrike">
                <a:solidFill>
                  <a:srgbClr val="000000"/>
                </a:solidFill>
                <a:effectLst/>
                <a:latin typeface="Segoe UI" panose="020B0502040204020203" pitchFamily="34" charset="0"/>
              </a:rPr>
              <a:t>ability to analyse data on list pages</a:t>
            </a:r>
          </a:p>
          <a:p>
            <a:pPr algn="l" rtl="0" fontAlgn="base">
              <a:lnSpc>
                <a:spcPts val="3900"/>
              </a:lnSpc>
              <a:buNone/>
            </a:pPr>
            <a:endParaRPr lang="en-GB" sz="1800" b="1" i="0" u="none" strike="noStrike">
              <a:solidFill>
                <a:srgbClr val="000000"/>
              </a:solidFill>
              <a:effectLst/>
              <a:latin typeface="Segoe UI" panose="020B0502040204020203" pitchFamily="34" charset="0"/>
            </a:endParaRPr>
          </a:p>
          <a:p>
            <a:pPr algn="l" rtl="0" fontAlgn="base">
              <a:lnSpc>
                <a:spcPts val="3900"/>
              </a:lnSpc>
              <a:buNone/>
            </a:pPr>
            <a:r>
              <a:rPr lang="en-GB" sz="1800" b="1" i="0" u="none" strike="noStrike">
                <a:solidFill>
                  <a:srgbClr val="000000"/>
                </a:solidFill>
                <a:effectLst/>
                <a:latin typeface="Segoe UI" panose="020B0502040204020203" pitchFamily="34" charset="0"/>
              </a:rPr>
              <a:t>With this you could quickly extract insights</a:t>
            </a:r>
            <a:r>
              <a:rPr lang="en-GB" sz="1800" b="0" i="0" u="none" strike="noStrike">
                <a:solidFill>
                  <a:srgbClr val="000000"/>
                </a:solidFill>
                <a:effectLst/>
                <a:latin typeface="Segoe UI" panose="020B0502040204020203" pitchFamily="34" charset="0"/>
              </a:rPr>
              <a:t> from your data directly in Business Central with </a:t>
            </a:r>
            <a:r>
              <a:rPr lang="en-GB" sz="1800" b="1" i="0" u="none" strike="noStrike">
                <a:solidFill>
                  <a:srgbClr val="000000"/>
                </a:solidFill>
                <a:effectLst/>
                <a:latin typeface="Segoe UI" panose="020B0502040204020203" pitchFamily="34" charset="0"/>
              </a:rPr>
              <a:t>no need to involve developers</a:t>
            </a:r>
            <a:r>
              <a:rPr lang="en-GB" sz="1800" b="0" i="0" u="none" strike="noStrike">
                <a:solidFill>
                  <a:srgbClr val="000000"/>
                </a:solidFill>
                <a:effectLst/>
                <a:latin typeface="Segoe UI" panose="020B0502040204020203" pitchFamily="34" charset="0"/>
              </a:rPr>
              <a:t>.</a:t>
            </a:r>
            <a:r>
              <a:rPr lang="en-US" sz="1800" b="0" i="0">
                <a:solidFill>
                  <a:srgbClr val="000000"/>
                </a:solidFill>
                <a:effectLst/>
                <a:latin typeface="Segoe UI" panose="020B0502040204020203" pitchFamily="34" charset="0"/>
              </a:rPr>
              <a:t>​</a:t>
            </a:r>
            <a:endParaRPr lang="en-US" b="0" i="0">
              <a:solidFill>
                <a:srgbClr val="000000"/>
              </a:solidFill>
              <a:effectLst/>
              <a:latin typeface="Segoe UI" panose="020B0502040204020203" pitchFamily="34" charset="0"/>
            </a:endParaRPr>
          </a:p>
          <a:p>
            <a:pPr algn="l" rtl="0" fontAlgn="base">
              <a:lnSpc>
                <a:spcPts val="3900"/>
              </a:lnSpc>
              <a:buNone/>
            </a:pPr>
            <a:r>
              <a:rPr lang="en-GB" sz="1800" b="0" i="0">
                <a:solidFill>
                  <a:srgbClr val="000000"/>
                </a:solidFill>
                <a:effectLst/>
                <a:latin typeface="Segoe UI" panose="020B0502040204020203" pitchFamily="34" charset="0"/>
              </a:rPr>
              <a:t>​</a:t>
            </a:r>
          </a:p>
          <a:p>
            <a:pPr algn="l" rtl="0" fontAlgn="base">
              <a:lnSpc>
                <a:spcPts val="3900"/>
              </a:lnSpc>
              <a:buNone/>
            </a:pPr>
            <a:r>
              <a:rPr lang="en-GB" sz="1800" b="0" i="0">
                <a:solidFill>
                  <a:srgbClr val="000000"/>
                </a:solidFill>
                <a:effectLst/>
                <a:latin typeface="Segoe UI" panose="020B0502040204020203" pitchFamily="34" charset="0"/>
              </a:rPr>
              <a:t>For instance, you could</a:t>
            </a:r>
            <a:r>
              <a:rPr lang="en-GB" sz="1800" b="0" i="0" u="none" strike="noStrike">
                <a:solidFill>
                  <a:srgbClr val="000000"/>
                </a:solidFill>
                <a:effectLst/>
                <a:latin typeface="Segoe UI" panose="020B0502040204020203" pitchFamily="34" charset="0"/>
              </a:rPr>
              <a:t> </a:t>
            </a:r>
            <a:r>
              <a:rPr lang="en-US" sz="1800" b="0" i="0">
                <a:solidFill>
                  <a:srgbClr val="000000"/>
                </a:solidFill>
                <a:effectLst/>
                <a:latin typeface="Segoe UI" panose="020B0502040204020203" pitchFamily="34" charset="0"/>
              </a:rPr>
              <a:t>​</a:t>
            </a:r>
            <a:endParaRPr lang="en-US" b="0" i="0">
              <a:solidFill>
                <a:srgbClr val="000000"/>
              </a:solidFill>
              <a:effectLst/>
              <a:latin typeface="Segoe UI" panose="020B0502040204020203" pitchFamily="34" charset="0"/>
            </a:endParaRPr>
          </a:p>
          <a:p>
            <a:pPr algn="l" rtl="0" fontAlgn="base">
              <a:lnSpc>
                <a:spcPts val="3900"/>
              </a:lnSpc>
              <a:buFont typeface="Arial" panose="020B0604020202020204" pitchFamily="34" charset="0"/>
              <a:buChar char="•"/>
            </a:pPr>
            <a:r>
              <a:rPr lang="en-GB" sz="1800" b="0" i="0" u="none" strike="noStrike">
                <a:solidFill>
                  <a:srgbClr val="000000"/>
                </a:solidFill>
                <a:effectLst/>
                <a:latin typeface="Segoe UI" panose="020B0502040204020203" pitchFamily="34" charset="0"/>
              </a:rPr>
              <a:t> </a:t>
            </a:r>
            <a:r>
              <a:rPr lang="en-GB" sz="1800" b="1" i="0" u="none" strike="noStrike">
                <a:solidFill>
                  <a:srgbClr val="000000"/>
                </a:solidFill>
                <a:effectLst/>
                <a:latin typeface="Segoe UI" panose="020B0502040204020203" pitchFamily="34" charset="0"/>
              </a:rPr>
              <a:t>Pick columns</a:t>
            </a:r>
            <a:r>
              <a:rPr lang="en-GB" sz="1800" b="0" i="0" u="none" strike="noStrike">
                <a:solidFill>
                  <a:srgbClr val="000000"/>
                </a:solidFill>
                <a:effectLst/>
                <a:latin typeface="Segoe UI" panose="020B0502040204020203" pitchFamily="34" charset="0"/>
              </a:rPr>
              <a:t>, reorder them</a:t>
            </a:r>
          </a:p>
          <a:p>
            <a:pPr algn="l" rtl="0" fontAlgn="base">
              <a:lnSpc>
                <a:spcPts val="3900"/>
              </a:lnSpc>
              <a:buFont typeface="Arial" panose="020B0604020202020204" pitchFamily="34" charset="0"/>
              <a:buChar char="•"/>
            </a:pPr>
            <a:r>
              <a:rPr lang="en-GB" sz="1800" b="0" i="0" u="none" strike="noStrike">
                <a:solidFill>
                  <a:srgbClr val="000000"/>
                </a:solidFill>
                <a:effectLst/>
                <a:latin typeface="Segoe UI" panose="020B0502040204020203" pitchFamily="34" charset="0"/>
              </a:rPr>
              <a:t> Set additional data </a:t>
            </a:r>
            <a:r>
              <a:rPr lang="en-GB" sz="1800" b="1" i="0" u="none" strike="noStrike">
                <a:solidFill>
                  <a:srgbClr val="000000"/>
                </a:solidFill>
                <a:effectLst/>
                <a:latin typeface="Segoe UI" panose="020B0502040204020203" pitchFamily="34" charset="0"/>
              </a:rPr>
              <a:t>filters</a:t>
            </a:r>
            <a:r>
              <a:rPr lang="en-US" sz="1800" b="0" i="0">
                <a:solidFill>
                  <a:srgbClr val="000000"/>
                </a:solidFill>
                <a:effectLst/>
                <a:latin typeface="Segoe UI" panose="020B0502040204020203" pitchFamily="34" charset="0"/>
              </a:rPr>
              <a:t>​</a:t>
            </a:r>
            <a:endParaRPr lang="en-US" b="0" i="0">
              <a:solidFill>
                <a:srgbClr val="000000"/>
              </a:solidFill>
              <a:effectLst/>
              <a:latin typeface="Arial" panose="020B0604020202020204" pitchFamily="34" charset="0"/>
            </a:endParaRPr>
          </a:p>
          <a:p>
            <a:pPr algn="l" rtl="0" fontAlgn="base">
              <a:lnSpc>
                <a:spcPts val="3900"/>
              </a:lnSpc>
              <a:buFont typeface="Arial" panose="020B0604020202020204" pitchFamily="34" charset="0"/>
              <a:buChar char="•"/>
            </a:pPr>
            <a:r>
              <a:rPr lang="en-GB" sz="1800" b="0" i="0" u="none" strike="noStrike">
                <a:solidFill>
                  <a:srgbClr val="000000"/>
                </a:solidFill>
                <a:effectLst/>
                <a:latin typeface="Segoe UI" panose="020B0502040204020203" pitchFamily="34" charset="0"/>
              </a:rPr>
              <a:t> </a:t>
            </a:r>
            <a:r>
              <a:rPr lang="en-GB" sz="1800" b="1" i="0" u="none" strike="noStrike">
                <a:solidFill>
                  <a:srgbClr val="000000"/>
                </a:solidFill>
                <a:effectLst/>
                <a:latin typeface="Segoe UI" panose="020B0502040204020203" pitchFamily="34" charset="0"/>
              </a:rPr>
              <a:t>Group and pivot</a:t>
            </a:r>
            <a:r>
              <a:rPr lang="en-US" sz="1800" b="0" i="0">
                <a:solidFill>
                  <a:srgbClr val="000000"/>
                </a:solidFill>
                <a:effectLst/>
                <a:latin typeface="Segoe UI" panose="020B0502040204020203" pitchFamily="34" charset="0"/>
              </a:rPr>
              <a:t>​</a:t>
            </a:r>
            <a:endParaRPr lang="en-US" sz="1200" b="0" i="0">
              <a:solidFill>
                <a:srgbClr val="000000"/>
              </a:solidFill>
              <a:effectLst/>
              <a:latin typeface="Arial" panose="020B0604020202020204" pitchFamily="34" charset="0"/>
            </a:endParaRPr>
          </a:p>
          <a:p>
            <a:pPr algn="l" rtl="0" fontAlgn="base">
              <a:lnSpc>
                <a:spcPts val="3900"/>
              </a:lnSpc>
              <a:buFont typeface="Arial" panose="020B0604020202020204" pitchFamily="34" charset="0"/>
              <a:buChar char="•"/>
            </a:pPr>
            <a:r>
              <a:rPr lang="en-US" sz="1200" b="0" i="0">
                <a:solidFill>
                  <a:srgbClr val="000000"/>
                </a:solidFill>
                <a:effectLst/>
                <a:latin typeface="Arial" panose="020B0604020202020204" pitchFamily="34" charset="0"/>
              </a:rPr>
              <a:t> </a:t>
            </a:r>
            <a:r>
              <a:rPr lang="en-GB" sz="1800" b="1" i="0" u="none" strike="noStrike">
                <a:solidFill>
                  <a:srgbClr val="000000"/>
                </a:solidFill>
                <a:effectLst/>
                <a:latin typeface="Segoe UI" panose="020B0502040204020203" pitchFamily="34" charset="0"/>
              </a:rPr>
              <a:t>Save your analysis</a:t>
            </a:r>
            <a:r>
              <a:rPr lang="en-GB" sz="1800" b="0" i="0" u="none" strike="noStrike">
                <a:solidFill>
                  <a:srgbClr val="000000"/>
                </a:solidFill>
                <a:effectLst/>
                <a:latin typeface="Segoe UI" panose="020B0502040204020203" pitchFamily="34" charset="0"/>
              </a:rPr>
              <a:t> for repetitive use. </a:t>
            </a:r>
            <a:endParaRPr lang="en-US" b="0" i="0">
              <a:solidFill>
                <a:srgbClr val="000000"/>
              </a:solidFill>
              <a:effectLst/>
              <a:latin typeface="Segoe UI" panose="020B0502040204020203" pitchFamily="34" charset="0"/>
            </a:endParaRPr>
          </a:p>
          <a:p>
            <a:endParaRPr lang="en-US"/>
          </a:p>
          <a:p>
            <a:r>
              <a:rPr lang="en-US"/>
              <a:t>CLICK: This has been a </a:t>
            </a:r>
            <a:r>
              <a:rPr lang="en-US" b="1"/>
              <a:t>great success</a:t>
            </a:r>
            <a:r>
              <a:rPr lang="en-US"/>
              <a:t>, including the later added </a:t>
            </a:r>
            <a:r>
              <a:rPr lang="en-US" b="1"/>
              <a:t>Copilot NL Analysis Assist </a:t>
            </a:r>
            <a:r>
              <a:rPr lang="en-US"/>
              <a:t>ability</a:t>
            </a:r>
          </a:p>
          <a:p>
            <a:endParaRPr lang="en-US"/>
          </a:p>
          <a:p>
            <a:r>
              <a:rPr lang="en-US"/>
              <a:t>CLICK: But a </a:t>
            </a:r>
            <a:r>
              <a:rPr lang="en-US" b="1"/>
              <a:t>challenge</a:t>
            </a:r>
            <a:r>
              <a:rPr lang="en-US"/>
              <a:t> has been analyzing more </a:t>
            </a:r>
            <a:r>
              <a:rPr lang="en-US" b="1"/>
              <a:t>complex cross-entity data relationships </a:t>
            </a:r>
            <a:r>
              <a:rPr lang="en-US" b="0"/>
              <a:t>– which still has required </a:t>
            </a:r>
            <a:r>
              <a:rPr lang="en-US" b="1"/>
              <a:t>developers creating queries</a:t>
            </a:r>
          </a:p>
          <a:p>
            <a:endParaRPr lang="en-US" b="0"/>
          </a:p>
          <a:p>
            <a:r>
              <a:rPr lang="en-US" b="0"/>
              <a:t>We are </a:t>
            </a:r>
            <a:r>
              <a:rPr lang="en-US" b="1"/>
              <a:t>super excited </a:t>
            </a:r>
            <a:r>
              <a:rPr lang="en-US" b="0"/>
              <a:t>that we have now </a:t>
            </a:r>
            <a:r>
              <a:rPr lang="en-US" b="1"/>
              <a:t>empowered users </a:t>
            </a:r>
            <a:r>
              <a:rPr lang="en-US" b="0"/>
              <a:t>even more, </a:t>
            </a:r>
            <a:r>
              <a:rPr lang="en-US" b="1"/>
              <a:t>addressing exactly this</a:t>
            </a:r>
            <a:r>
              <a:rPr lang="en-US" b="0"/>
              <a:t>!</a:t>
            </a:r>
          </a:p>
          <a:p>
            <a:endParaRPr lang="en-US" b="0"/>
          </a:p>
          <a:p>
            <a:r>
              <a:rPr lang="en-US" b="0"/>
              <a:t>Blanca, can you tell us more?</a:t>
            </a:r>
          </a:p>
        </p:txBody>
      </p:sp>
      <p:sp>
        <p:nvSpPr>
          <p:cNvPr id="4" name="Slide Number Placeholder 3"/>
          <p:cNvSpPr>
            <a:spLocks noGrp="1"/>
          </p:cNvSpPr>
          <p:nvPr>
            <p:ph type="sldNum" sz="quarter" idx="5"/>
          </p:nvPr>
        </p:nvSpPr>
        <p:spPr/>
        <p:txBody>
          <a:bodyPr/>
          <a:lstStyle/>
          <a:p>
            <a:fld id="{D1197057-FB2C-41F9-9329-4701B60A726B}" type="slidenum">
              <a:rPr lang="en-DK" smtClean="0"/>
              <a:t>69</a:t>
            </a:fld>
            <a:endParaRPr lang="en-DK"/>
          </a:p>
        </p:txBody>
      </p:sp>
    </p:spTree>
    <p:extLst>
      <p:ext uri="{BB962C8B-B14F-4D97-AF65-F5344CB8AC3E}">
        <p14:creationId xmlns:p14="http://schemas.microsoft.com/office/powerpoint/2010/main" val="425935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a:effectLst/>
            </a:endParaRPr>
          </a:p>
          <a:p>
            <a:pPr marL="742950" lvl="1" indent="-285750" rtl="0">
              <a:spcAft>
                <a:spcPts val="800"/>
              </a:spcAft>
              <a:buFont typeface="Arial" panose="020B0604020202020204" pitchFamily="34" charset="0"/>
              <a:buChar char="•"/>
            </a:pPr>
            <a:r>
              <a:rPr lang="en-US">
                <a:effectLst/>
              </a:rPr>
              <a:t>Builds on the already existing Analysis View capability, and allows users to include additional related data sources without having to write code.</a:t>
            </a:r>
          </a:p>
          <a:p>
            <a:pPr marL="742950" lvl="1" indent="-285750" rtl="0">
              <a:spcAft>
                <a:spcPts val="800"/>
              </a:spcAft>
              <a:buFont typeface="Arial" panose="020B0604020202020204" pitchFamily="34" charset="0"/>
              <a:buChar char="•"/>
            </a:pPr>
            <a:r>
              <a:rPr lang="en-US">
                <a:effectLst/>
              </a:rPr>
              <a:t>Self-service on creating complex datasets and analyzing them </a:t>
            </a:r>
          </a:p>
          <a:p>
            <a:pPr marL="742950" lvl="1" indent="-285750" rtl="0">
              <a:spcAft>
                <a:spcPts val="800"/>
              </a:spcAft>
              <a:buFont typeface="Arial" panose="020B0604020202020204" pitchFamily="34" charset="0"/>
              <a:buChar char="•"/>
            </a:pPr>
            <a:r>
              <a:rPr lang="en-US">
                <a:effectLst/>
              </a:rPr>
              <a:t>Planned to come 26.2, could still change (i.e., when done)</a:t>
            </a:r>
          </a:p>
        </p:txBody>
      </p:sp>
      <p:sp>
        <p:nvSpPr>
          <p:cNvPr id="4" name="Slide Number Placeholder 3"/>
          <p:cNvSpPr>
            <a:spLocks noGrp="1"/>
          </p:cNvSpPr>
          <p:nvPr>
            <p:ph type="sldNum" sz="quarter" idx="5"/>
          </p:nvPr>
        </p:nvSpPr>
        <p:spPr/>
        <p:txBody>
          <a:bodyPr/>
          <a:lstStyle/>
          <a:p>
            <a:fld id="{D1197057-FB2C-41F9-9329-4701B60A726B}" type="slidenum">
              <a:rPr lang="en-DK" smtClean="0"/>
              <a:t>70</a:t>
            </a:fld>
            <a:endParaRPr lang="en-DK"/>
          </a:p>
        </p:txBody>
      </p:sp>
    </p:spTree>
    <p:extLst>
      <p:ext uri="{BB962C8B-B14F-4D97-AF65-F5344CB8AC3E}">
        <p14:creationId xmlns:p14="http://schemas.microsoft.com/office/powerpoint/2010/main" val="17400035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USE SCRIPT</a:t>
            </a:r>
          </a:p>
          <a:p>
            <a:pPr>
              <a:buNone/>
            </a:pPr>
            <a:r>
              <a:rPr lang="en-US"/>
              <a:t>Outline from Loop:</a:t>
            </a:r>
            <a:br>
              <a:rPr lang="en-US"/>
            </a:br>
            <a:endParaRPr lang="en-US">
              <a:effectLst/>
            </a:endParaRPr>
          </a:p>
          <a:p>
            <a:pPr marL="742950" lvl="1" indent="-285750" rtl="0">
              <a:spcAft>
                <a:spcPts val="800"/>
              </a:spcAft>
              <a:buFont typeface="Arial" panose="020B0604020202020204" pitchFamily="34" charset="0"/>
              <a:buChar char="•"/>
            </a:pPr>
            <a:r>
              <a:rPr lang="en-US">
                <a:effectLst/>
              </a:rPr>
              <a:t>Go to Sales order, join with Customer. Explain that these are related table in AL, and they can be joined by the different table relationships defined in AL.</a:t>
            </a:r>
          </a:p>
          <a:p>
            <a:pPr marL="742950" lvl="1" indent="-285750" rtl="0">
              <a:spcAft>
                <a:spcPts val="800"/>
              </a:spcAft>
              <a:buFont typeface="Arial" panose="020B0604020202020204" pitchFamily="34" charset="0"/>
              <a:buChar char="•"/>
            </a:pPr>
            <a:r>
              <a:rPr lang="en-US">
                <a:effectLst/>
              </a:rPr>
              <a:t>Open pop-up, explain user can view the card and list pages they can use to select the fields to add, or table fields by default.</a:t>
            </a:r>
          </a:p>
          <a:p>
            <a:pPr marL="1143000" lvl="2" indent="-228600" rtl="0">
              <a:spcAft>
                <a:spcPts val="800"/>
              </a:spcAft>
              <a:buFont typeface="Arial" panose="020B0604020202020204" pitchFamily="34" charset="0"/>
              <a:buChar char="•"/>
            </a:pPr>
            <a:r>
              <a:rPr lang="en-US">
                <a:effectLst/>
              </a:rPr>
              <a:t>Cover why we list card and list pages vs tables (and latter coming as well)</a:t>
            </a:r>
          </a:p>
          <a:p>
            <a:pPr marL="742950" lvl="1" indent="-285750" rtl="0">
              <a:spcAft>
                <a:spcPts val="800"/>
              </a:spcAft>
              <a:buFont typeface="Arial" panose="020B0604020202020204" pitchFamily="34" charset="0"/>
              <a:buChar char="•"/>
            </a:pPr>
            <a:r>
              <a:rPr lang="en-US">
                <a:effectLst/>
              </a:rPr>
              <a:t>Add fields such as Name, City, Phone numbers, </a:t>
            </a:r>
            <a:r>
              <a:rPr lang="en-US" err="1">
                <a:effectLst/>
              </a:rPr>
              <a:t>etc</a:t>
            </a:r>
            <a:r>
              <a:rPr lang="en-US">
                <a:effectLst/>
              </a:rPr>
              <a:t>, from the "Add columns" on main tab. </a:t>
            </a:r>
          </a:p>
          <a:p>
            <a:pPr marL="742950" lvl="1" indent="-285750" rtl="0">
              <a:spcAft>
                <a:spcPts val="800"/>
              </a:spcAft>
              <a:buFont typeface="Arial" panose="020B0604020202020204" pitchFamily="34" charset="0"/>
              <a:buChar char="•"/>
            </a:pPr>
            <a:r>
              <a:rPr lang="en-US">
                <a:effectLst/>
              </a:rPr>
              <a:t>Add columns from the Sales Header from the column tab, next to column.</a:t>
            </a:r>
          </a:p>
          <a:p>
            <a:pPr marL="742950" lvl="1" indent="-285750" rtl="0">
              <a:spcAft>
                <a:spcPts val="800"/>
              </a:spcAft>
              <a:buFont typeface="Arial" panose="020B0604020202020204" pitchFamily="34" charset="0"/>
              <a:buChar char="•"/>
            </a:pPr>
            <a:r>
              <a:rPr lang="en-US">
                <a:effectLst/>
              </a:rPr>
              <a:t>Show they are in the columns panel, hide/show it. Group by Name, filter by country and pivot. </a:t>
            </a:r>
          </a:p>
          <a:p>
            <a:pPr marL="742950" lvl="1" indent="-285750" rtl="0">
              <a:spcAft>
                <a:spcPts val="800"/>
              </a:spcAft>
              <a:buFont typeface="Arial" panose="020B0604020202020204" pitchFamily="34" charset="0"/>
              <a:buChar char="•"/>
            </a:pPr>
            <a:r>
              <a:rPr lang="en-US">
                <a:effectLst/>
              </a:rPr>
              <a:t>We don't need sales header columns anymore, so remove all sales header columns </a:t>
            </a:r>
          </a:p>
          <a:p>
            <a:endParaRPr lang="en-DK"/>
          </a:p>
        </p:txBody>
      </p:sp>
      <p:sp>
        <p:nvSpPr>
          <p:cNvPr id="4" name="Slide Number Placeholder 3"/>
          <p:cNvSpPr>
            <a:spLocks noGrp="1"/>
          </p:cNvSpPr>
          <p:nvPr>
            <p:ph type="sldNum" sz="quarter" idx="5"/>
          </p:nvPr>
        </p:nvSpPr>
        <p:spPr/>
        <p:txBody>
          <a:bodyPr/>
          <a:lstStyle/>
          <a:p>
            <a:fld id="{D1197057-FB2C-41F9-9329-4701B60A726B}" type="slidenum">
              <a:rPr lang="en-DK" smtClean="0"/>
              <a:t>71</a:t>
            </a:fld>
            <a:endParaRPr lang="en-DK"/>
          </a:p>
        </p:txBody>
      </p:sp>
    </p:spTree>
    <p:extLst>
      <p:ext uri="{BB962C8B-B14F-4D97-AF65-F5344CB8AC3E}">
        <p14:creationId xmlns:p14="http://schemas.microsoft.com/office/powerpoint/2010/main" val="21743536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is the general analytics story end-to-end</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0/2025 5: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89770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This is the analytics story end-to-end </a:t>
            </a:r>
            <a:r>
              <a:rPr lang="en-GB" i="1"/>
              <a:t>for each functional area</a:t>
            </a:r>
          </a:p>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0/2025 5: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06479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This is the analytics story end-to-end </a:t>
            </a:r>
            <a:r>
              <a:rPr lang="en-GB" i="1"/>
              <a:t>for each functional area</a:t>
            </a:r>
          </a:p>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0/2025 5: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06206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0/2025 5: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9162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9C0C0-D817-8C7B-6F29-55E50B77EF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6AFF82-EB19-C80E-3C87-BBABE198CC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8E10B7-8718-76ED-6B24-204D3EB7B9E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0E000E7-AAAD-E7C8-BBA3-2678D404D71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D3731AB-D4EA-C8A2-063D-6BD57B4B7E5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752081-E64E-EA52-0BEA-D4BBF7224DC8}"/>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0/2025 5: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E6E4DD5-AE28-A390-D643-8BD0D917E2E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56849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FDDEE-B175-0F63-687E-44A6D902F3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D3C7F8-0A61-1589-E51B-F30DC887BC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375044-824A-A810-8D4A-A006054450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effectLst/>
                <a:latin typeface="Aptos" panose="020B0004020202020204" pitchFamily="34" charset="0"/>
                <a:ea typeface="Aptos" panose="020B0004020202020204" pitchFamily="34" charset="0"/>
                <a:cs typeface="Arial" panose="020B0604020202020204" pitchFamily="34" charset="0"/>
              </a:rPr>
              <a:t>Note: Need relevant icons to ma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Aptos" panose="020B0004020202020204" pitchFamily="34" charset="0"/>
              <a:ea typeface="Aptos" panose="020B00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Aptos" panose="020B0004020202020204" pitchFamily="34" charset="0"/>
                <a:ea typeface="Aptos" panose="020B0004020202020204" pitchFamily="34" charset="0"/>
                <a:cs typeface="Arial" panose="020B0604020202020204" pitchFamily="34" charset="0"/>
              </a:rPr>
              <a:t>We are also releasing several new capabilities within the Customer Service workspace to improve agent productivity, including enhancements to inbox, conversation panels and timelines, better collaboration through Microsoft Teams, and integrated diagnostics for administra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FFFFFF"/>
              </a:solidFill>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FFFFFF"/>
                </a:solidFill>
                <a:effectLst/>
                <a:latin typeface="Segoe UI"/>
                <a:cs typeface="Segoe UI"/>
              </a:rPr>
              <a:t>[Talking head]</a:t>
            </a:r>
          </a:p>
          <a:p>
            <a:pPr marL="0" marR="0">
              <a:lnSpc>
                <a:spcPct val="107000"/>
              </a:lnSpc>
              <a:spcBef>
                <a:spcPts val="0"/>
              </a:spcBef>
              <a:spcAft>
                <a:spcPts val="800"/>
              </a:spcAft>
            </a:pPr>
            <a:r>
              <a:rPr lang="en-US" sz="1200">
                <a:effectLst/>
                <a:latin typeface="Aptos" panose="020B0004020202020204" pitchFamily="34" charset="0"/>
                <a:ea typeface="Aptos" panose="020B0004020202020204" pitchFamily="34" charset="0"/>
                <a:cs typeface="Arial" panose="020B0604020202020204" pitchFamily="34" charset="0"/>
              </a:rPr>
              <a:t>With the new capabilities we’ve added and are continuing to add, </a:t>
            </a:r>
            <a:r>
              <a:rPr lang="en-US" sz="1200" b="1">
                <a:effectLst/>
                <a:latin typeface="Aptos" panose="020B0004020202020204" pitchFamily="34" charset="0"/>
                <a:ea typeface="Aptos" panose="020B0004020202020204" pitchFamily="34" charset="0"/>
                <a:cs typeface="Arial" panose="020B0604020202020204" pitchFamily="34" charset="0"/>
              </a:rPr>
              <a:t>now</a:t>
            </a:r>
            <a:r>
              <a:rPr lang="en-US" sz="1200">
                <a:effectLst/>
                <a:latin typeface="Aptos" panose="020B0004020202020204" pitchFamily="34" charset="0"/>
                <a:ea typeface="Aptos" panose="020B0004020202020204" pitchFamily="34" charset="0"/>
                <a:cs typeface="Arial" panose="020B0604020202020204" pitchFamily="34" charset="0"/>
              </a:rPr>
              <a:t> is the perfect time to take your service efforts to the next level. </a:t>
            </a:r>
          </a:p>
          <a:p>
            <a:pPr marL="0" marR="0">
              <a:lnSpc>
                <a:spcPct val="107000"/>
              </a:lnSpc>
              <a:spcBef>
                <a:spcPts val="0"/>
              </a:spcBef>
              <a:spcAft>
                <a:spcPts val="800"/>
              </a:spcAft>
            </a:pPr>
            <a:r>
              <a:rPr lang="en-US" sz="1200">
                <a:effectLst/>
                <a:latin typeface="Aptos" panose="020B0004020202020204" pitchFamily="34" charset="0"/>
                <a:ea typeface="Aptos" panose="020B0004020202020204" pitchFamily="34" charset="0"/>
                <a:cs typeface="Arial" panose="020B0604020202020204" pitchFamily="34" charset="0"/>
              </a:rPr>
              <a:t>To see some of these features in action, let's turn it over to Pulkita, who will showcase them through the lens of one of our customers, NatWest.</a:t>
            </a:r>
          </a:p>
          <a:p>
            <a:pPr marL="0" marR="0">
              <a:lnSpc>
                <a:spcPct val="107000"/>
              </a:lnSpc>
              <a:spcBef>
                <a:spcPts val="0"/>
              </a:spcBef>
              <a:spcAft>
                <a:spcPts val="800"/>
              </a:spcAft>
            </a:pPr>
            <a:r>
              <a:rPr lang="en-US" sz="1200">
                <a:effectLst/>
                <a:latin typeface="Aptos" panose="020B0004020202020204" pitchFamily="34" charset="0"/>
                <a:ea typeface="Aptos" panose="020B0004020202020204" pitchFamily="34" charset="0"/>
                <a:cs typeface="Arial" panose="020B0604020202020204" pitchFamily="34" charset="0"/>
              </a:rPr>
              <a:t>Pulkita, take it away! </a:t>
            </a:r>
            <a:r>
              <a:rPr lang="en-US" sz="1200">
                <a:effectLst/>
                <a:latin typeface="Segoe UI Emoji" panose="020B0502040204020203" pitchFamily="34" charset="0"/>
                <a:ea typeface="Aptos" panose="020B0004020202020204" pitchFamily="34" charset="0"/>
                <a:cs typeface="Segoe UI Emoji" panose="020B0502040204020203" pitchFamily="34" charset="0"/>
              </a:rPr>
              <a:t>🚀</a:t>
            </a:r>
            <a:endParaRPr lang="en-US" sz="12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EE5EE6E7-00A1-E7A7-9E7B-E19A3F78AB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1FBA06-2471-41E2-BED0-7D776F053F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819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4A96FA-0333-24AB-0976-7356D2B2A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75BF18-DC36-BDDF-36EC-C89BE02B6D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4346C3-8A01-400F-F7D5-DCF53E0A99D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18FA742-C08D-B4F8-CBE2-440791932F5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3277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4FB8B-1189-94A0-77BF-2550BB4C9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DE1B0F-426C-30FF-043A-0DB130F231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14C9EB-A502-F24A-A378-23715931ABD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9426F78-445A-7725-9FEA-B60B043E889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2030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339F1-501F-D8B3-4F96-C8747033F1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858356-C64B-ED6B-E244-DB0071BDD7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67231A-5BE7-4464-0568-D9AC013B2AD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28AD17B-BFBB-0FD3-B848-CAB281DF652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9211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Reworked to show Expected Capacity Need for both Machine </a:t>
            </a:r>
            <a:r>
              <a:rPr lang="en-GB" sz="1800" err="1">
                <a:solidFill>
                  <a:srgbClr val="000000"/>
                </a:solidFill>
                <a:effectLst/>
                <a:latin typeface="Segoe UI Variable Text" pitchFamily="2" charset="0"/>
                <a:ea typeface="Times New Roman" panose="02020603050405020304" pitchFamily="18" charset="0"/>
                <a:cs typeface="Aptos" panose="020B0004020202020204" pitchFamily="34" charset="0"/>
              </a:rPr>
              <a:t>Center</a:t>
            </a:r>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 and Work </a:t>
            </a:r>
            <a:r>
              <a:rPr lang="en-GB" sz="1800" err="1">
                <a:solidFill>
                  <a:srgbClr val="000000"/>
                </a:solidFill>
                <a:effectLst/>
                <a:latin typeface="Segoe UI Variable Text" pitchFamily="2" charset="0"/>
                <a:ea typeface="Times New Roman" panose="02020603050405020304" pitchFamily="18" charset="0"/>
                <a:cs typeface="Aptos" panose="020B0004020202020204" pitchFamily="34" charset="0"/>
              </a:rPr>
              <a:t>Centers</a:t>
            </a:r>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 Details by Source No and Production Order No.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11123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991BB-4F1C-D1BF-6D13-DC6ABC445E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630698-4F9A-F330-FC87-DD7A6EB2C0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F18EA0-7B43-B789-30CE-B9092B58A60B}"/>
              </a:ext>
            </a:extLst>
          </p:cNvPr>
          <p:cNvSpPr>
            <a:spLocks noGrp="1"/>
          </p:cNvSpPr>
          <p:nvPr>
            <p:ph type="body" idx="1"/>
          </p:nvPr>
        </p:nvSpPr>
        <p:spPr/>
        <p:txBody>
          <a:bodyPr/>
          <a:lstStyle/>
          <a:p>
            <a:r>
              <a:rPr lang="en-GB" sz="1200">
                <a:solidFill>
                  <a:srgbClr val="000000"/>
                </a:solidFill>
                <a:effectLst/>
                <a:latin typeface="Segoe UI Variable Text" pitchFamily="2" charset="0"/>
                <a:ea typeface="Times New Roman" panose="02020603050405020304" pitchFamily="18" charset="0"/>
                <a:cs typeface="Aptos" panose="020B0004020202020204" pitchFamily="34" charset="0"/>
              </a:rPr>
              <a:t>Focused on Actual vs. Expected Costs for Finished Production orders. </a:t>
            </a:r>
          </a:p>
          <a:p>
            <a:r>
              <a:rPr lang="en-GB" sz="1200">
                <a:solidFill>
                  <a:srgbClr val="000000"/>
                </a:solidFill>
                <a:effectLst/>
                <a:latin typeface="Segoe UI Variable Text" pitchFamily="2" charset="0"/>
                <a:ea typeface="Times New Roman" panose="02020603050405020304" pitchFamily="18" charset="0"/>
                <a:cs typeface="Aptos" panose="020B0004020202020204" pitchFamily="34" charset="0"/>
              </a:rPr>
              <a:t>Total cost broken down by cost type ( Material, Capacity, Overhead etc. )</a:t>
            </a:r>
            <a:endParaRPr lang="en-GB"/>
          </a:p>
          <a:p>
            <a:endParaRPr lang="en-GB"/>
          </a:p>
        </p:txBody>
      </p:sp>
      <p:sp>
        <p:nvSpPr>
          <p:cNvPr id="4" name="Slide Number Placeholder 3">
            <a:extLst>
              <a:ext uri="{FF2B5EF4-FFF2-40B4-BE49-F238E27FC236}">
                <a16:creationId xmlns:a16="http://schemas.microsoft.com/office/drawing/2014/main" id="{443C1D65-436E-247B-43F1-EB00FF00B3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33026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Same as above, but with additional scrap measure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887249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2.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Master" Target="../slideMasters/slideMaster3.xml"/><Relationship Id="rId4" Type="http://schemas.openxmlformats.org/officeDocument/2006/relationships/image" Target="../media/image53.emf"/></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png"/><Relationship Id="rId1" Type="http://schemas.openxmlformats.org/officeDocument/2006/relationships/slideMaster" Target="../slideMasters/slideMaster3.xml"/><Relationship Id="rId5" Type="http://schemas.openxmlformats.org/officeDocument/2006/relationships/image" Target="../media/image62.png"/><Relationship Id="rId4" Type="http://schemas.openxmlformats.org/officeDocument/2006/relationships/image" Target="../media/image61.pn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65.jpe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4.xml"/><Relationship Id="rId4" Type="http://schemas.openxmlformats.org/officeDocument/2006/relationships/image" Target="../media/image26.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4.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20.jpe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26.jpe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5.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20.jpe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20.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6.jpeg"/></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6.xml"/><Relationship Id="rId4" Type="http://schemas.openxmlformats.org/officeDocument/2006/relationships/image" Target="../media/image26.jpe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6.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20.jpe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6.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sign with white text&#10;&#10;Description automatically generated">
            <a:extLst>
              <a:ext uri="{FF2B5EF4-FFF2-40B4-BE49-F238E27FC236}">
                <a16:creationId xmlns:a16="http://schemas.microsoft.com/office/drawing/2014/main" id="{A64BAF26-10DA-C81A-EA1D-B29CEEFCF2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0215" y="5798843"/>
            <a:ext cx="3139190" cy="879062"/>
          </a:xfrm>
          <a:prstGeom prst="rect">
            <a:avLst/>
          </a:prstGeom>
        </p:spPr>
      </p:pic>
    </p:spTree>
    <p:extLst>
      <p:ext uri="{BB962C8B-B14F-4D97-AF65-F5344CB8AC3E}">
        <p14:creationId xmlns:p14="http://schemas.microsoft.com/office/powerpoint/2010/main" val="2484971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DEED7AF7-37A3-0E96-2ED9-116362078CF6}"/>
              </a:ext>
            </a:extLst>
          </p:cNvPr>
          <p:cNvPicPr>
            <a:picLocks noChangeAspect="1"/>
          </p:cNvPicPr>
          <p:nvPr userDrawn="1"/>
        </p:nvPicPr>
        <p:blipFill>
          <a:blip r:embed="rId3"/>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5756275" y="-165101"/>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7002748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Frame Slide_Light outlin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5942012" y="-103190"/>
            <a:ext cx="5438778"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Rectangle: Top Corners Rounded 4">
            <a:extLst>
              <a:ext uri="{FF2B5EF4-FFF2-40B4-BE49-F238E27FC236}">
                <a16:creationId xmlns:a16="http://schemas.microsoft.com/office/drawing/2014/main" id="{B06A9C3B-F449-1EAF-6BA4-A24E6F6EA320}"/>
              </a:ext>
            </a:extLst>
          </p:cNvPr>
          <p:cNvSpPr>
            <a:spLocks/>
          </p:cNvSpPr>
          <p:nvPr userDrawn="1"/>
        </p:nvSpPr>
        <p:spPr bwMode="auto">
          <a:xfrm rot="5400000" flipH="1" flipV="1">
            <a:off x="5756277" y="-166690"/>
            <a:ext cx="5683248" cy="7188202"/>
          </a:xfrm>
          <a:prstGeom prst="round2SameRect">
            <a:avLst>
              <a:gd name="adj1" fmla="val 3259"/>
              <a:gd name="adj2" fmla="val 0"/>
            </a:avLst>
          </a:prstGeom>
          <a:noFill/>
          <a:ln w="19050">
            <a:gradFill>
              <a:gsLst>
                <a:gs pos="0">
                  <a:schemeClr val="accent3"/>
                </a:gs>
                <a:gs pos="61000">
                  <a:schemeClr val="accent1"/>
                </a:gs>
                <a:gs pos="100000">
                  <a:schemeClr val="accent5"/>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err="1">
              <a:gradFill>
                <a:gsLst>
                  <a:gs pos="0">
                    <a:schemeClr val="accent3"/>
                  </a:gs>
                  <a:gs pos="67000">
                    <a:schemeClr val="accent1"/>
                  </a:gs>
                  <a:gs pos="100000">
                    <a:schemeClr val="accent5"/>
                  </a:gs>
                </a:gsLst>
                <a:lin ang="5400000" scaled="1"/>
              </a:gradFill>
              <a:latin typeface="+mj-lt"/>
            </a:endParaRPr>
          </a:p>
        </p:txBody>
      </p:sp>
    </p:spTree>
    <p:extLst>
      <p:ext uri="{BB962C8B-B14F-4D97-AF65-F5344CB8AC3E}">
        <p14:creationId xmlns:p14="http://schemas.microsoft.com/office/powerpoint/2010/main" val="35724380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in 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6" name="Rectangle: Top Corners Rounded 5">
            <a:extLst>
              <a:ext uri="{FF2B5EF4-FFF2-40B4-BE49-F238E27FC236}">
                <a16:creationId xmlns:a16="http://schemas.microsoft.com/office/drawing/2014/main" id="{AB8C3002-1EF7-6E38-848D-BF7CD8D3E0D6}"/>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23050294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in 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360396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a:gsLst>
                <a:gs pos="0">
                  <a:schemeClr val="accent3"/>
                </a:gs>
                <a:gs pos="61000">
                  <a:schemeClr val="accent1"/>
                </a:gs>
                <a:gs pos="100000">
                  <a:schemeClr val="accent5"/>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3636538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p:txBody>
          <a:bodyPr/>
          <a:lstStyle/>
          <a:p>
            <a:r>
              <a:rPr lang="en-US"/>
              <a:t>General Business Central resources</a:t>
            </a:r>
          </a:p>
        </p:txBody>
      </p:sp>
      <p:sp>
        <p:nvSpPr>
          <p:cNvPr id="16" name="Rectangle: Rounded Corners 15">
            <a:extLst>
              <a:ext uri="{FF2B5EF4-FFF2-40B4-BE49-F238E27FC236}">
                <a16:creationId xmlns:a16="http://schemas.microsoft.com/office/drawing/2014/main" id="{CF7B64D5-8AE6-7D79-ADEE-79DBF5380BB1}"/>
              </a:ext>
              <a:ext uri="{C183D7F6-B498-43B3-948B-1728B52AA6E4}">
                <adec:decorative xmlns:adec="http://schemas.microsoft.com/office/drawing/2017/decorative" val="1"/>
              </a:ext>
            </a:extLst>
          </p:cNvPr>
          <p:cNvSpPr>
            <a:spLocks/>
          </p:cNvSpPr>
          <p:nvPr userDrawn="1"/>
        </p:nvSpPr>
        <p:spPr bwMode="auto">
          <a:xfrm>
            <a:off x="571499" y="2017713"/>
            <a:ext cx="11049002" cy="4251326"/>
          </a:xfrm>
          <a:prstGeom prst="roundRect">
            <a:avLst>
              <a:gd name="adj" fmla="val 6090"/>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965F8B08-BC71-97CE-9DAF-55ED0EAA1B87}"/>
              </a:ext>
              <a:ext uri="{C183D7F6-B498-43B3-948B-1728B52AA6E4}">
                <adec:decorative xmlns:adec="http://schemas.microsoft.com/office/drawing/2017/decorative" val="1"/>
              </a:ext>
            </a:extLst>
          </p:cNvPr>
          <p:cNvSpPr>
            <a:spLocks/>
          </p:cNvSpPr>
          <p:nvPr userDrawn="1"/>
        </p:nvSpPr>
        <p:spPr bwMode="auto">
          <a:xfrm>
            <a:off x="647577" y="2117381"/>
            <a:ext cx="10896847" cy="4076249"/>
          </a:xfrm>
          <a:prstGeom prst="roundRect">
            <a:avLst>
              <a:gd name="adj" fmla="val 5311"/>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10" name="Text Placeholder 13">
            <a:extLst>
              <a:ext uri="{FF2B5EF4-FFF2-40B4-BE49-F238E27FC236}">
                <a16:creationId xmlns:a16="http://schemas.microsoft.com/office/drawing/2014/main" id="{065BC4FB-2BD8-73DD-D114-94FEE8E84DD9}"/>
              </a:ext>
            </a:extLst>
          </p:cNvPr>
          <p:cNvSpPr>
            <a:spLocks noGrp="1"/>
          </p:cNvSpPr>
          <p:nvPr>
            <p:ph type="body" sz="quarter" idx="11" hasCustomPrompt="1"/>
          </p:nvPr>
        </p:nvSpPr>
        <p:spPr>
          <a:xfrm>
            <a:off x="1885346"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1" name="Text Placeholder 13">
            <a:extLst>
              <a:ext uri="{FF2B5EF4-FFF2-40B4-BE49-F238E27FC236}">
                <a16:creationId xmlns:a16="http://schemas.microsoft.com/office/drawing/2014/main" id="{B51AD683-64D9-79C8-A8BF-1C1B516D9DA3}"/>
              </a:ext>
            </a:extLst>
          </p:cNvPr>
          <p:cNvSpPr>
            <a:spLocks noGrp="1"/>
          </p:cNvSpPr>
          <p:nvPr>
            <p:ph type="body" sz="quarter" idx="12" hasCustomPrompt="1"/>
          </p:nvPr>
        </p:nvSpPr>
        <p:spPr>
          <a:xfrm>
            <a:off x="1885346"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2" name="Text Placeholder 13">
            <a:extLst>
              <a:ext uri="{FF2B5EF4-FFF2-40B4-BE49-F238E27FC236}">
                <a16:creationId xmlns:a16="http://schemas.microsoft.com/office/drawing/2014/main" id="{0A6DAB6E-BB98-F1B3-A857-CABB8D99880A}"/>
              </a:ext>
            </a:extLst>
          </p:cNvPr>
          <p:cNvSpPr>
            <a:spLocks noGrp="1"/>
          </p:cNvSpPr>
          <p:nvPr>
            <p:ph type="body" sz="quarter" idx="13" hasCustomPrompt="1"/>
          </p:nvPr>
        </p:nvSpPr>
        <p:spPr>
          <a:xfrm>
            <a:off x="7213558"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3" name="Text Placeholder 13">
            <a:extLst>
              <a:ext uri="{FF2B5EF4-FFF2-40B4-BE49-F238E27FC236}">
                <a16:creationId xmlns:a16="http://schemas.microsoft.com/office/drawing/2014/main" id="{219E5293-A4F4-9FB0-A47D-0D434317B505}"/>
              </a:ext>
            </a:extLst>
          </p:cNvPr>
          <p:cNvSpPr>
            <a:spLocks noGrp="1"/>
          </p:cNvSpPr>
          <p:nvPr>
            <p:ph type="body" sz="quarter" idx="14" hasCustomPrompt="1"/>
          </p:nvPr>
        </p:nvSpPr>
        <p:spPr>
          <a:xfrm>
            <a:off x="7213558"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7" name="Text Placeholder 13">
            <a:extLst>
              <a:ext uri="{FF2B5EF4-FFF2-40B4-BE49-F238E27FC236}">
                <a16:creationId xmlns:a16="http://schemas.microsoft.com/office/drawing/2014/main" id="{44D8D693-3A66-DCE0-DFE1-A58F6C6F39C2}"/>
              </a:ext>
            </a:extLst>
          </p:cNvPr>
          <p:cNvSpPr>
            <a:spLocks noGrp="1"/>
          </p:cNvSpPr>
          <p:nvPr>
            <p:ph type="body" sz="quarter" idx="15" hasCustomPrompt="1"/>
          </p:nvPr>
        </p:nvSpPr>
        <p:spPr>
          <a:xfrm>
            <a:off x="1885346"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9" name="Text Placeholder 13">
            <a:extLst>
              <a:ext uri="{FF2B5EF4-FFF2-40B4-BE49-F238E27FC236}">
                <a16:creationId xmlns:a16="http://schemas.microsoft.com/office/drawing/2014/main" id="{FB49901B-AA18-5AD0-1782-D7398FA606D5}"/>
              </a:ext>
            </a:extLst>
          </p:cNvPr>
          <p:cNvSpPr>
            <a:spLocks noGrp="1"/>
          </p:cNvSpPr>
          <p:nvPr>
            <p:ph type="body" sz="quarter" idx="16" hasCustomPrompt="1"/>
          </p:nvPr>
        </p:nvSpPr>
        <p:spPr>
          <a:xfrm>
            <a:off x="1885346"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0" name="Text Placeholder 13">
            <a:extLst>
              <a:ext uri="{FF2B5EF4-FFF2-40B4-BE49-F238E27FC236}">
                <a16:creationId xmlns:a16="http://schemas.microsoft.com/office/drawing/2014/main" id="{1637A203-2087-3947-0DDD-FDA5D6CF2EE0}"/>
              </a:ext>
            </a:extLst>
          </p:cNvPr>
          <p:cNvSpPr>
            <a:spLocks noGrp="1"/>
          </p:cNvSpPr>
          <p:nvPr>
            <p:ph type="body" sz="quarter" idx="17" hasCustomPrompt="1"/>
          </p:nvPr>
        </p:nvSpPr>
        <p:spPr>
          <a:xfrm>
            <a:off x="1885346"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1" name="Text Placeholder 13">
            <a:extLst>
              <a:ext uri="{FF2B5EF4-FFF2-40B4-BE49-F238E27FC236}">
                <a16:creationId xmlns:a16="http://schemas.microsoft.com/office/drawing/2014/main" id="{96B2A2E8-8453-C099-8347-C64741812B0F}"/>
              </a:ext>
            </a:extLst>
          </p:cNvPr>
          <p:cNvSpPr>
            <a:spLocks noGrp="1"/>
          </p:cNvSpPr>
          <p:nvPr>
            <p:ph type="body" sz="quarter" idx="18" hasCustomPrompt="1"/>
          </p:nvPr>
        </p:nvSpPr>
        <p:spPr>
          <a:xfrm>
            <a:off x="1885346"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2" name="Text Placeholder 13">
            <a:extLst>
              <a:ext uri="{FF2B5EF4-FFF2-40B4-BE49-F238E27FC236}">
                <a16:creationId xmlns:a16="http://schemas.microsoft.com/office/drawing/2014/main" id="{185CE928-3A09-AB32-82A8-5593DC9FC0B2}"/>
              </a:ext>
            </a:extLst>
          </p:cNvPr>
          <p:cNvSpPr>
            <a:spLocks noGrp="1"/>
          </p:cNvSpPr>
          <p:nvPr>
            <p:ph type="body" sz="quarter" idx="19" hasCustomPrompt="1"/>
          </p:nvPr>
        </p:nvSpPr>
        <p:spPr>
          <a:xfrm>
            <a:off x="7213557"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3" name="Text Placeholder 13">
            <a:extLst>
              <a:ext uri="{FF2B5EF4-FFF2-40B4-BE49-F238E27FC236}">
                <a16:creationId xmlns:a16="http://schemas.microsoft.com/office/drawing/2014/main" id="{EC007CE8-F370-632E-E76B-27712AE98F27}"/>
              </a:ext>
            </a:extLst>
          </p:cNvPr>
          <p:cNvSpPr>
            <a:spLocks noGrp="1"/>
          </p:cNvSpPr>
          <p:nvPr>
            <p:ph type="body" sz="quarter" idx="20" hasCustomPrompt="1"/>
          </p:nvPr>
        </p:nvSpPr>
        <p:spPr>
          <a:xfrm>
            <a:off x="7213557"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4" name="Text Placeholder 13">
            <a:extLst>
              <a:ext uri="{FF2B5EF4-FFF2-40B4-BE49-F238E27FC236}">
                <a16:creationId xmlns:a16="http://schemas.microsoft.com/office/drawing/2014/main" id="{27DF75B9-DBC4-0C40-369C-05AA648D36AE}"/>
              </a:ext>
            </a:extLst>
          </p:cNvPr>
          <p:cNvSpPr>
            <a:spLocks noGrp="1"/>
          </p:cNvSpPr>
          <p:nvPr>
            <p:ph type="body" sz="quarter" idx="21" hasCustomPrompt="1"/>
          </p:nvPr>
        </p:nvSpPr>
        <p:spPr>
          <a:xfrm>
            <a:off x="7213557"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5" name="Text Placeholder 13">
            <a:extLst>
              <a:ext uri="{FF2B5EF4-FFF2-40B4-BE49-F238E27FC236}">
                <a16:creationId xmlns:a16="http://schemas.microsoft.com/office/drawing/2014/main" id="{67C2ADD1-79D4-2CC5-4B45-8588E826E4C4}"/>
              </a:ext>
            </a:extLst>
          </p:cNvPr>
          <p:cNvSpPr>
            <a:spLocks noGrp="1"/>
          </p:cNvSpPr>
          <p:nvPr>
            <p:ph type="body" sz="quarter" idx="22" hasCustomPrompt="1"/>
          </p:nvPr>
        </p:nvSpPr>
        <p:spPr>
          <a:xfrm>
            <a:off x="7213557"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28279729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a:xfrm>
            <a:off x="588263" y="2188660"/>
            <a:ext cx="3774187" cy="1107996"/>
          </a:xfrm>
        </p:spPr>
        <p:txBody>
          <a:bodyPr lIns="0" tIns="0" rIns="0" bIns="0"/>
          <a:lstStyle/>
          <a:p>
            <a:r>
              <a:rPr lang="en-US"/>
              <a:t>General Business Central resources</a:t>
            </a:r>
          </a:p>
        </p:txBody>
      </p:sp>
      <p:sp>
        <p:nvSpPr>
          <p:cNvPr id="6" name="Freeform: Shape 5">
            <a:extLst>
              <a:ext uri="{FF2B5EF4-FFF2-40B4-BE49-F238E27FC236}">
                <a16:creationId xmlns:a16="http://schemas.microsoft.com/office/drawing/2014/main" id="{10F44ECF-ABF8-FB29-8A89-8CACFFF99227}"/>
              </a:ext>
              <a:ext uri="{C183D7F6-B498-43B3-948B-1728B52AA6E4}">
                <adec:decorative xmlns:adec="http://schemas.microsoft.com/office/drawing/2017/decorative" val="1"/>
              </a:ext>
            </a:extLst>
          </p:cNvPr>
          <p:cNvSpPr>
            <a:spLocks/>
          </p:cNvSpPr>
          <p:nvPr userDrawn="1"/>
        </p:nvSpPr>
        <p:spPr bwMode="auto">
          <a:xfrm>
            <a:off x="4612384" y="0"/>
            <a:ext cx="7579616" cy="6269039"/>
          </a:xfrm>
          <a:custGeom>
            <a:avLst/>
            <a:gdLst>
              <a:gd name="connsiteX0" fmla="*/ 0 w 7579616"/>
              <a:gd name="connsiteY0" fmla="*/ 0 h 6269039"/>
              <a:gd name="connsiteX1" fmla="*/ 7579616 w 7579616"/>
              <a:gd name="connsiteY1" fmla="*/ 0 h 6269039"/>
              <a:gd name="connsiteX2" fmla="*/ 7579616 w 7579616"/>
              <a:gd name="connsiteY2" fmla="*/ 6269039 h 6269039"/>
              <a:gd name="connsiteX3" fmla="*/ 422389 w 7579616"/>
              <a:gd name="connsiteY3" fmla="*/ 6269039 h 6269039"/>
              <a:gd name="connsiteX4" fmla="*/ 0 w 7579616"/>
              <a:gd name="connsiteY4" fmla="*/ 5846649 h 6269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16" h="6269039">
                <a:moveTo>
                  <a:pt x="0" y="0"/>
                </a:moveTo>
                <a:lnTo>
                  <a:pt x="7579616" y="0"/>
                </a:lnTo>
                <a:lnTo>
                  <a:pt x="7579616" y="6269039"/>
                </a:lnTo>
                <a:lnTo>
                  <a:pt x="422389" y="6269039"/>
                </a:lnTo>
                <a:cubicBezTo>
                  <a:pt x="189109" y="6269039"/>
                  <a:pt x="0" y="6079929"/>
                  <a:pt x="0" y="5846649"/>
                </a:cubicBezTo>
                <a:close/>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2518DCF-8BAB-BF01-2CA5-31C12CE94F5C}"/>
              </a:ext>
              <a:ext uri="{C183D7F6-B498-43B3-948B-1728B52AA6E4}">
                <adec:decorative xmlns:adec="http://schemas.microsoft.com/office/drawing/2017/decorative" val="1"/>
              </a:ext>
            </a:extLst>
          </p:cNvPr>
          <p:cNvSpPr>
            <a:spLocks/>
          </p:cNvSpPr>
          <p:nvPr userDrawn="1"/>
        </p:nvSpPr>
        <p:spPr bwMode="auto">
          <a:xfrm>
            <a:off x="4688461" y="1"/>
            <a:ext cx="7503539" cy="6193631"/>
          </a:xfrm>
          <a:custGeom>
            <a:avLst/>
            <a:gdLst>
              <a:gd name="connsiteX0" fmla="*/ 0 w 7503539"/>
              <a:gd name="connsiteY0" fmla="*/ 0 h 6193631"/>
              <a:gd name="connsiteX1" fmla="*/ 7503539 w 7503539"/>
              <a:gd name="connsiteY1" fmla="*/ 0 h 6193631"/>
              <a:gd name="connsiteX2" fmla="*/ 7503539 w 7503539"/>
              <a:gd name="connsiteY2" fmla="*/ 6193631 h 6193631"/>
              <a:gd name="connsiteX3" fmla="*/ 357273 w 7503539"/>
              <a:gd name="connsiteY3" fmla="*/ 6193631 h 6193631"/>
              <a:gd name="connsiteX4" fmla="*/ 0 w 7503539"/>
              <a:gd name="connsiteY4" fmla="*/ 5836358 h 619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539" h="6193631">
                <a:moveTo>
                  <a:pt x="0" y="0"/>
                </a:moveTo>
                <a:lnTo>
                  <a:pt x="7503539" y="0"/>
                </a:lnTo>
                <a:lnTo>
                  <a:pt x="7503539" y="6193631"/>
                </a:lnTo>
                <a:lnTo>
                  <a:pt x="357273" y="6193631"/>
                </a:lnTo>
                <a:cubicBezTo>
                  <a:pt x="159958" y="6193631"/>
                  <a:pt x="0" y="6033674"/>
                  <a:pt x="0" y="5836358"/>
                </a:cubicBezTo>
                <a:close/>
              </a:path>
            </a:pathLst>
          </a:cu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7" name="Text Placeholder 13">
            <a:extLst>
              <a:ext uri="{FF2B5EF4-FFF2-40B4-BE49-F238E27FC236}">
                <a16:creationId xmlns:a16="http://schemas.microsoft.com/office/drawing/2014/main" id="{DC926123-1F71-4816-106E-7E41109975F2}"/>
              </a:ext>
            </a:extLst>
          </p:cNvPr>
          <p:cNvSpPr>
            <a:spLocks noGrp="1"/>
          </p:cNvSpPr>
          <p:nvPr>
            <p:ph type="body" sz="quarter" idx="11" hasCustomPrompt="1"/>
          </p:nvPr>
        </p:nvSpPr>
        <p:spPr>
          <a:xfrm>
            <a:off x="5120219"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8" name="Text Placeholder 13">
            <a:extLst>
              <a:ext uri="{FF2B5EF4-FFF2-40B4-BE49-F238E27FC236}">
                <a16:creationId xmlns:a16="http://schemas.microsoft.com/office/drawing/2014/main" id="{E9D324D8-E2C6-379E-3E6B-B4CECE9C7CB9}"/>
              </a:ext>
            </a:extLst>
          </p:cNvPr>
          <p:cNvSpPr>
            <a:spLocks noGrp="1"/>
          </p:cNvSpPr>
          <p:nvPr>
            <p:ph type="body" sz="quarter" idx="12" hasCustomPrompt="1"/>
          </p:nvPr>
        </p:nvSpPr>
        <p:spPr>
          <a:xfrm>
            <a:off x="5120219"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9" name="Text Placeholder 13">
            <a:extLst>
              <a:ext uri="{FF2B5EF4-FFF2-40B4-BE49-F238E27FC236}">
                <a16:creationId xmlns:a16="http://schemas.microsoft.com/office/drawing/2014/main" id="{F9BA4A51-3E46-87BC-45F7-58FF6DC6210E}"/>
              </a:ext>
            </a:extLst>
          </p:cNvPr>
          <p:cNvSpPr>
            <a:spLocks noGrp="1"/>
          </p:cNvSpPr>
          <p:nvPr>
            <p:ph type="body" sz="quarter" idx="13" hasCustomPrompt="1"/>
          </p:nvPr>
        </p:nvSpPr>
        <p:spPr>
          <a:xfrm>
            <a:off x="8742006"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4" name="Text Placeholder 13">
            <a:extLst>
              <a:ext uri="{FF2B5EF4-FFF2-40B4-BE49-F238E27FC236}">
                <a16:creationId xmlns:a16="http://schemas.microsoft.com/office/drawing/2014/main" id="{19CB1686-4AF7-E21B-6F72-7E3587474FF7}"/>
              </a:ext>
            </a:extLst>
          </p:cNvPr>
          <p:cNvSpPr>
            <a:spLocks noGrp="1"/>
          </p:cNvSpPr>
          <p:nvPr>
            <p:ph type="body" sz="quarter" idx="14" hasCustomPrompt="1"/>
          </p:nvPr>
        </p:nvSpPr>
        <p:spPr>
          <a:xfrm>
            <a:off x="8742006"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5" name="Text Placeholder 13">
            <a:extLst>
              <a:ext uri="{FF2B5EF4-FFF2-40B4-BE49-F238E27FC236}">
                <a16:creationId xmlns:a16="http://schemas.microsoft.com/office/drawing/2014/main" id="{2AC08BB4-EAA0-BD7E-5A87-BCC6C430F035}"/>
              </a:ext>
            </a:extLst>
          </p:cNvPr>
          <p:cNvSpPr>
            <a:spLocks noGrp="1"/>
          </p:cNvSpPr>
          <p:nvPr>
            <p:ph type="body" sz="quarter" idx="15" hasCustomPrompt="1"/>
          </p:nvPr>
        </p:nvSpPr>
        <p:spPr>
          <a:xfrm>
            <a:off x="5120219"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6" name="Text Placeholder 13">
            <a:extLst>
              <a:ext uri="{FF2B5EF4-FFF2-40B4-BE49-F238E27FC236}">
                <a16:creationId xmlns:a16="http://schemas.microsoft.com/office/drawing/2014/main" id="{2C6146CA-0F13-0002-0AA3-B1B67656B598}"/>
              </a:ext>
            </a:extLst>
          </p:cNvPr>
          <p:cNvSpPr>
            <a:spLocks noGrp="1"/>
          </p:cNvSpPr>
          <p:nvPr>
            <p:ph type="body" sz="quarter" idx="16" hasCustomPrompt="1"/>
          </p:nvPr>
        </p:nvSpPr>
        <p:spPr>
          <a:xfrm>
            <a:off x="5120219"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7" name="Text Placeholder 13">
            <a:extLst>
              <a:ext uri="{FF2B5EF4-FFF2-40B4-BE49-F238E27FC236}">
                <a16:creationId xmlns:a16="http://schemas.microsoft.com/office/drawing/2014/main" id="{9A118C6C-6399-A4B5-F599-DF7BF6946C20}"/>
              </a:ext>
            </a:extLst>
          </p:cNvPr>
          <p:cNvSpPr>
            <a:spLocks noGrp="1"/>
          </p:cNvSpPr>
          <p:nvPr>
            <p:ph type="body" sz="quarter" idx="17" hasCustomPrompt="1"/>
          </p:nvPr>
        </p:nvSpPr>
        <p:spPr>
          <a:xfrm>
            <a:off x="5120219"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8" name="Text Placeholder 13">
            <a:extLst>
              <a:ext uri="{FF2B5EF4-FFF2-40B4-BE49-F238E27FC236}">
                <a16:creationId xmlns:a16="http://schemas.microsoft.com/office/drawing/2014/main" id="{7C735F35-4163-81F6-B716-F4A49BF85197}"/>
              </a:ext>
            </a:extLst>
          </p:cNvPr>
          <p:cNvSpPr>
            <a:spLocks noGrp="1"/>
          </p:cNvSpPr>
          <p:nvPr>
            <p:ph type="body" sz="quarter" idx="18" hasCustomPrompt="1"/>
          </p:nvPr>
        </p:nvSpPr>
        <p:spPr>
          <a:xfrm>
            <a:off x="5120219"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9" name="Text Placeholder 13">
            <a:extLst>
              <a:ext uri="{FF2B5EF4-FFF2-40B4-BE49-F238E27FC236}">
                <a16:creationId xmlns:a16="http://schemas.microsoft.com/office/drawing/2014/main" id="{203B1102-6E81-2393-153D-5C2B5B3AABC0}"/>
              </a:ext>
            </a:extLst>
          </p:cNvPr>
          <p:cNvSpPr>
            <a:spLocks noGrp="1"/>
          </p:cNvSpPr>
          <p:nvPr>
            <p:ph type="body" sz="quarter" idx="19" hasCustomPrompt="1"/>
          </p:nvPr>
        </p:nvSpPr>
        <p:spPr>
          <a:xfrm>
            <a:off x="8742005"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0" name="Text Placeholder 13">
            <a:extLst>
              <a:ext uri="{FF2B5EF4-FFF2-40B4-BE49-F238E27FC236}">
                <a16:creationId xmlns:a16="http://schemas.microsoft.com/office/drawing/2014/main" id="{B24F0286-E681-94F3-BF9A-A3283D6C8C38}"/>
              </a:ext>
            </a:extLst>
          </p:cNvPr>
          <p:cNvSpPr>
            <a:spLocks noGrp="1"/>
          </p:cNvSpPr>
          <p:nvPr>
            <p:ph type="body" sz="quarter" idx="20" hasCustomPrompt="1"/>
          </p:nvPr>
        </p:nvSpPr>
        <p:spPr>
          <a:xfrm>
            <a:off x="8742005"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1" name="Text Placeholder 13">
            <a:extLst>
              <a:ext uri="{FF2B5EF4-FFF2-40B4-BE49-F238E27FC236}">
                <a16:creationId xmlns:a16="http://schemas.microsoft.com/office/drawing/2014/main" id="{2E3AD68B-0A55-0FC4-ECC4-C572E5E347A3}"/>
              </a:ext>
            </a:extLst>
          </p:cNvPr>
          <p:cNvSpPr>
            <a:spLocks noGrp="1"/>
          </p:cNvSpPr>
          <p:nvPr>
            <p:ph type="body" sz="quarter" idx="21" hasCustomPrompt="1"/>
          </p:nvPr>
        </p:nvSpPr>
        <p:spPr>
          <a:xfrm>
            <a:off x="8742005"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2" name="Text Placeholder 13">
            <a:extLst>
              <a:ext uri="{FF2B5EF4-FFF2-40B4-BE49-F238E27FC236}">
                <a16:creationId xmlns:a16="http://schemas.microsoft.com/office/drawing/2014/main" id="{BD1AFFA9-83AC-76A1-280F-7F65D43BA6B5}"/>
              </a:ext>
            </a:extLst>
          </p:cNvPr>
          <p:cNvSpPr>
            <a:spLocks noGrp="1"/>
          </p:cNvSpPr>
          <p:nvPr>
            <p:ph type="body" sz="quarter" idx="22" hasCustomPrompt="1"/>
          </p:nvPr>
        </p:nvSpPr>
        <p:spPr>
          <a:xfrm>
            <a:off x="8742005"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237784860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3811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859047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815673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263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7795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56581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17524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8325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010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357227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9772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470535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56104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670219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1632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0407280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472549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7568697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756697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816191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79118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367339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969432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931561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889265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216812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342792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249845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283083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404256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26847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105487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D4EC8E"/>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94810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55529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D4EC8E"/>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6112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54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18226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37824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0634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098719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DeckTitleSlide-BAP">
    <p:spTree>
      <p:nvGrpSpPr>
        <p:cNvPr id="1" name=""/>
        <p:cNvGrpSpPr/>
        <p:nvPr/>
      </p:nvGrpSpPr>
      <p:grpSpPr>
        <a:xfrm>
          <a:off x="0" y="0"/>
          <a:ext cx="0" cy="0"/>
          <a:chOff x="0" y="0"/>
          <a:chExt cx="0" cy="0"/>
        </a:xfrm>
      </p:grpSpPr>
      <p:pic>
        <p:nvPicPr>
          <p:cNvPr id="2" name="Picture 1" descr="A colorful wavy paper on a black background&#10;&#10;Description automatically generated">
            <a:extLst>
              <a:ext uri="{FF2B5EF4-FFF2-40B4-BE49-F238E27FC236}">
                <a16:creationId xmlns:a16="http://schemas.microsoft.com/office/drawing/2014/main" id="{E45A4182-98DC-AE2F-8592-5525322A97EA}"/>
              </a:ext>
            </a:extLst>
          </p:cNvPr>
          <p:cNvPicPr>
            <a:picLocks noChangeAspect="1"/>
          </p:cNvPicPr>
          <p:nvPr userDrawn="1"/>
        </p:nvPicPr>
        <p:blipFill rotWithShape="1">
          <a:blip r:embed="rId2"/>
          <a:srcRect l="37631" r="25951"/>
          <a:stretch/>
        </p:blipFill>
        <p:spPr>
          <a:xfrm>
            <a:off x="7751928" y="0"/>
            <a:ext cx="4440072" cy="6858000"/>
          </a:xfrm>
          <a:prstGeom prst="rect">
            <a:avLst/>
          </a:prstGeom>
        </p:spPr>
      </p:pic>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11200" y="2135632"/>
            <a:ext cx="8890000" cy="1772793"/>
          </a:xfrm>
          <a:prstGeom prst="rect">
            <a:avLst/>
          </a:prstGeom>
          <a:noFill/>
        </p:spPr>
        <p:txBody>
          <a:bodyPr wrap="square" lIns="0" tIns="0" rIns="0" bIns="0" anchor="b" anchorCtr="0">
            <a:spAutoFit/>
          </a:bodyPr>
          <a:lstStyle>
            <a:lvl1pPr>
              <a:lnSpc>
                <a:spcPct val="90000"/>
              </a:lnSpc>
              <a:defRPr sz="6400" b="1" i="0" spc="-150" baseline="0">
                <a:solidFill>
                  <a:schemeClr val="tx1"/>
                </a:solidFill>
                <a:latin typeface="+mj-lt"/>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49300" y="4473148"/>
            <a:ext cx="8851900" cy="276999"/>
          </a:xfrm>
          <a:prstGeom prst="rect">
            <a:avLst/>
          </a:prstGeom>
          <a:noFill/>
        </p:spPr>
        <p:txBody>
          <a:bodyPr wrap="square" lIns="0" tIns="0" rIns="0" bIns="0">
            <a:spAutoFit/>
          </a:bodyPr>
          <a:lstStyle>
            <a:lvl1pPr marL="0" indent="0">
              <a:spcBef>
                <a:spcPts val="0"/>
              </a:spcBef>
              <a:buNone/>
              <a:defRPr sz="2000" b="1" i="0" spc="0" baseline="0">
                <a:solidFill>
                  <a:schemeClr val="tx1"/>
                </a:solidFill>
                <a:latin typeface="+mn-lt"/>
                <a:cs typeface="Segoe UI Semibold"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7954ADD3-F5A4-3367-5329-1A2BED1B2D1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773952" y="762000"/>
            <a:ext cx="1366245" cy="292608"/>
          </a:xfrm>
          <a:prstGeom prst="rect">
            <a:avLst/>
          </a:prstGeom>
        </p:spPr>
      </p:pic>
    </p:spTree>
    <p:extLst>
      <p:ext uri="{BB962C8B-B14F-4D97-AF65-F5344CB8AC3E}">
        <p14:creationId xmlns:p14="http://schemas.microsoft.com/office/powerpoint/2010/main" val="126536506"/>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eckTitleSlide-BA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0D8771-D57F-5832-A716-50848DFEFC79}"/>
              </a:ext>
            </a:extLst>
          </p:cNvPr>
          <p:cNvPicPr>
            <a:picLocks noChangeAspect="1"/>
          </p:cNvPicPr>
          <p:nvPr/>
        </p:nvPicPr>
        <p:blipFill>
          <a:blip r:embed="rId2">
            <a:duotone>
              <a:schemeClr val="bg2">
                <a:shade val="45000"/>
                <a:satMod val="135000"/>
              </a:schemeClr>
              <a:prstClr val="white"/>
            </a:duotone>
            <a:alphaModFix/>
            <a:extLst>
              <a:ext uri="{BEBA8EAE-BF5A-486C-A8C5-ECC9F3942E4B}">
                <a14:imgProps xmlns:a14="http://schemas.microsoft.com/office/drawing/2010/main">
                  <a14:imgLayer r:embed="rId3">
                    <a14:imgEffect>
                      <a14:brightnessContrast bright="-37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11200" y="2135632"/>
            <a:ext cx="8890000" cy="1772793"/>
          </a:xfrm>
          <a:prstGeom prst="rect">
            <a:avLst/>
          </a:prstGeom>
          <a:noFill/>
        </p:spPr>
        <p:txBody>
          <a:bodyPr wrap="square" lIns="0" tIns="0" rIns="0" bIns="0" anchor="b" anchorCtr="0">
            <a:spAutoFit/>
          </a:bodyPr>
          <a:lstStyle>
            <a:lvl1pPr>
              <a:lnSpc>
                <a:spcPct val="90000"/>
              </a:lnSpc>
              <a:defRPr sz="6400" b="1" i="0" spc="-150" baseline="0">
                <a:solidFill>
                  <a:schemeClr val="tx1"/>
                </a:solidFill>
                <a:latin typeface="+mj-lt"/>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49300" y="4473148"/>
            <a:ext cx="8851900" cy="276999"/>
          </a:xfrm>
          <a:prstGeom prst="rect">
            <a:avLst/>
          </a:prstGeom>
          <a:noFill/>
        </p:spPr>
        <p:txBody>
          <a:bodyPr wrap="square" lIns="0" tIns="0" rIns="0" bIns="0">
            <a:spAutoFit/>
          </a:bodyPr>
          <a:lstStyle>
            <a:lvl1pPr marL="0" indent="0">
              <a:spcBef>
                <a:spcPts val="0"/>
              </a:spcBef>
              <a:buNone/>
              <a:defRPr sz="2000" b="1" i="0" spc="0" baseline="0">
                <a:solidFill>
                  <a:schemeClr val="tx1"/>
                </a:solidFill>
                <a:latin typeface="+mj-lt"/>
                <a:cs typeface="Segoe UI Semibold"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7954ADD3-F5A4-3367-5329-1A2BED1B2D1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773952" y="762000"/>
            <a:ext cx="1366245" cy="292608"/>
          </a:xfrm>
          <a:prstGeom prst="rect">
            <a:avLst/>
          </a:prstGeom>
        </p:spPr>
      </p:pic>
    </p:spTree>
    <p:extLst>
      <p:ext uri="{BB962C8B-B14F-4D97-AF65-F5344CB8AC3E}">
        <p14:creationId xmlns:p14="http://schemas.microsoft.com/office/powerpoint/2010/main" val="2806375504"/>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_DeckTitleSlide-BAP">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11200" y="2135632"/>
            <a:ext cx="8890000" cy="1772793"/>
          </a:xfrm>
          <a:prstGeom prst="rect">
            <a:avLst/>
          </a:prstGeom>
          <a:noFill/>
        </p:spPr>
        <p:txBody>
          <a:bodyPr wrap="square" lIns="0" tIns="0" rIns="0" bIns="0" anchor="b" anchorCtr="0">
            <a:spAutoFit/>
          </a:bodyPr>
          <a:lstStyle>
            <a:lvl1pPr>
              <a:lnSpc>
                <a:spcPct val="90000"/>
              </a:lnSpc>
              <a:defRPr sz="6400" b="1" i="0" spc="-150" baseline="0">
                <a:solidFill>
                  <a:schemeClr val="tx1"/>
                </a:solidFill>
                <a:latin typeface="+mj-lt"/>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49300" y="4473148"/>
            <a:ext cx="8851900" cy="276999"/>
          </a:xfrm>
          <a:prstGeom prst="rect">
            <a:avLst/>
          </a:prstGeom>
          <a:noFill/>
        </p:spPr>
        <p:txBody>
          <a:bodyPr wrap="square" lIns="0" tIns="0" rIns="0" bIns="0">
            <a:spAutoFit/>
          </a:bodyPr>
          <a:lstStyle>
            <a:lvl1pPr marL="0" indent="0">
              <a:spcBef>
                <a:spcPts val="0"/>
              </a:spcBef>
              <a:buNone/>
              <a:defRPr sz="2000" b="1" i="0" spc="0" baseline="0">
                <a:solidFill>
                  <a:schemeClr val="tx1"/>
                </a:solidFill>
                <a:latin typeface="+mj-lt"/>
                <a:cs typeface="Segoe UI Semibold" panose="020B0502040204020203" pitchFamily="34" charset="0"/>
              </a:defRPr>
            </a:lvl1pPr>
          </a:lstStyle>
          <a:p>
            <a:pPr lvl="0"/>
            <a:r>
              <a:rPr lang="en-US"/>
              <a:t>Speaker name or subtitle</a:t>
            </a:r>
          </a:p>
        </p:txBody>
      </p:sp>
      <p:pic>
        <p:nvPicPr>
          <p:cNvPr id="3" name="Picture 2" descr="A picture containing graphics, font, screenshot, text&#10;&#10;Description automatically generated">
            <a:extLst>
              <a:ext uri="{FF2B5EF4-FFF2-40B4-BE49-F238E27FC236}">
                <a16:creationId xmlns:a16="http://schemas.microsoft.com/office/drawing/2014/main" id="{2B53DFDB-ED07-19DE-F5AB-A3D911B2C1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253" y="354124"/>
            <a:ext cx="2079015" cy="914400"/>
          </a:xfrm>
          <a:prstGeom prst="rect">
            <a:avLst/>
          </a:prstGeom>
        </p:spPr>
      </p:pic>
    </p:spTree>
    <p:extLst>
      <p:ext uri="{BB962C8B-B14F-4D97-AF65-F5344CB8AC3E}">
        <p14:creationId xmlns:p14="http://schemas.microsoft.com/office/powerpoint/2010/main" val="324208076"/>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genda-BAP">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78535E05-A5A7-93BD-0FCF-C0A058B6B0E9}"/>
              </a:ext>
            </a:extLst>
          </p:cNvPr>
          <p:cNvSpPr>
            <a:spLocks noGrp="1"/>
          </p:cNvSpPr>
          <p:nvPr>
            <p:ph type="body" sz="quarter" idx="13" hasCustomPrompt="1"/>
          </p:nvPr>
        </p:nvSpPr>
        <p:spPr>
          <a:xfrm>
            <a:off x="783772" y="2841625"/>
            <a:ext cx="3635827" cy="1143000"/>
          </a:xfrm>
          <a:prstGeom prst="rect">
            <a:avLst/>
          </a:prstGeom>
        </p:spPr>
        <p:txBody>
          <a:bodyPr lIns="0" tIns="0" rIns="0" bIns="0" anchor="ctr"/>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Agenda</a:t>
            </a:r>
          </a:p>
        </p:txBody>
      </p:sp>
      <p:sp>
        <p:nvSpPr>
          <p:cNvPr id="8" name="Text Placeholder 3">
            <a:extLst>
              <a:ext uri="{FF2B5EF4-FFF2-40B4-BE49-F238E27FC236}">
                <a16:creationId xmlns:a16="http://schemas.microsoft.com/office/drawing/2014/main" id="{ED9472F5-A469-7E41-4CDF-07CE747061DF}"/>
              </a:ext>
            </a:extLst>
          </p:cNvPr>
          <p:cNvSpPr>
            <a:spLocks noGrp="1"/>
          </p:cNvSpPr>
          <p:nvPr>
            <p:ph type="body" sz="quarter" idx="15" hasCustomPrompt="1"/>
          </p:nvPr>
        </p:nvSpPr>
        <p:spPr>
          <a:xfrm>
            <a:off x="7172632" y="1505516"/>
            <a:ext cx="4267200" cy="296889"/>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1</a:t>
            </a:r>
          </a:p>
        </p:txBody>
      </p:sp>
      <p:sp>
        <p:nvSpPr>
          <p:cNvPr id="9" name="Text Placeholder 3">
            <a:extLst>
              <a:ext uri="{FF2B5EF4-FFF2-40B4-BE49-F238E27FC236}">
                <a16:creationId xmlns:a16="http://schemas.microsoft.com/office/drawing/2014/main" id="{BD9EB8D1-59CE-F71D-A285-86323C101738}"/>
              </a:ext>
            </a:extLst>
          </p:cNvPr>
          <p:cNvSpPr>
            <a:spLocks noGrp="1"/>
          </p:cNvSpPr>
          <p:nvPr>
            <p:ph type="body" sz="quarter" idx="16" hasCustomPrompt="1"/>
          </p:nvPr>
        </p:nvSpPr>
        <p:spPr>
          <a:xfrm>
            <a:off x="7172632" y="1937798"/>
            <a:ext cx="4267200" cy="292578"/>
          </a:xfrm>
          <a:prstGeom prst="rect">
            <a:avLst/>
          </a:prstGeom>
        </p:spPr>
        <p:txBody>
          <a:bodyPr lIns="0" tIns="0" rIns="0" bIns="0" anchor="t"/>
          <a:lstStyle>
            <a:lvl1pPr marL="0" indent="0">
              <a:lnSpc>
                <a:spcPct val="120000"/>
              </a:lnSpc>
              <a:spcBef>
                <a:spcPts val="0"/>
              </a:spcBef>
              <a:buNone/>
              <a:defRPr sz="1400" b="0" i="0" spc="0" baseline="0">
                <a:solidFill>
                  <a:schemeClr val="bg2">
                    <a:lumMod val="50000"/>
                    <a:lumOff val="50000"/>
                  </a:schemeClr>
                </a:solidFill>
                <a:latin typeface="Segoe UI" panose="020B0502040204020203" pitchFamily="34" charset="0"/>
                <a:cs typeface="Segoe UI" panose="020B0502040204020203" pitchFamily="34" charset="0"/>
              </a:defRPr>
            </a:lvl1pPr>
          </a:lstStyle>
          <a:p>
            <a:pPr lvl="0"/>
            <a:r>
              <a:rPr lang="en-US"/>
              <a:t>1A</a:t>
            </a:r>
          </a:p>
          <a:p>
            <a:pPr lvl="0"/>
            <a:r>
              <a:rPr lang="en-US"/>
              <a:t>1B</a:t>
            </a:r>
          </a:p>
          <a:p>
            <a:pPr lvl="0"/>
            <a:r>
              <a:rPr lang="en-US"/>
              <a:t>1C</a:t>
            </a:r>
          </a:p>
        </p:txBody>
      </p:sp>
      <p:sp>
        <p:nvSpPr>
          <p:cNvPr id="14" name="Text Placeholder 3">
            <a:extLst>
              <a:ext uri="{FF2B5EF4-FFF2-40B4-BE49-F238E27FC236}">
                <a16:creationId xmlns:a16="http://schemas.microsoft.com/office/drawing/2014/main" id="{52624706-CE3B-87F9-7A6B-07BFD1BE59A4}"/>
              </a:ext>
            </a:extLst>
          </p:cNvPr>
          <p:cNvSpPr>
            <a:spLocks noGrp="1"/>
          </p:cNvSpPr>
          <p:nvPr>
            <p:ph type="body" sz="quarter" idx="21" hasCustomPrompt="1"/>
          </p:nvPr>
        </p:nvSpPr>
        <p:spPr>
          <a:xfrm>
            <a:off x="7172632" y="5103926"/>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6" name="Text Placeholder 3">
            <a:extLst>
              <a:ext uri="{FF2B5EF4-FFF2-40B4-BE49-F238E27FC236}">
                <a16:creationId xmlns:a16="http://schemas.microsoft.com/office/drawing/2014/main" id="{D4F06E9A-CC85-D9EE-B799-0353D5F08565}"/>
              </a:ext>
            </a:extLst>
          </p:cNvPr>
          <p:cNvSpPr>
            <a:spLocks noGrp="1"/>
          </p:cNvSpPr>
          <p:nvPr>
            <p:ph type="body" sz="quarter" idx="23" hasCustomPrompt="1"/>
          </p:nvPr>
        </p:nvSpPr>
        <p:spPr>
          <a:xfrm>
            <a:off x="7172632" y="4662170"/>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7" name="Text Placeholder 3">
            <a:extLst>
              <a:ext uri="{FF2B5EF4-FFF2-40B4-BE49-F238E27FC236}">
                <a16:creationId xmlns:a16="http://schemas.microsoft.com/office/drawing/2014/main" id="{C2F23C34-68F8-7A12-6963-FD36EE110C90}"/>
              </a:ext>
            </a:extLst>
          </p:cNvPr>
          <p:cNvSpPr>
            <a:spLocks noGrp="1"/>
          </p:cNvSpPr>
          <p:nvPr>
            <p:ph type="body" sz="quarter" idx="24" hasCustomPrompt="1"/>
          </p:nvPr>
        </p:nvSpPr>
        <p:spPr>
          <a:xfrm>
            <a:off x="7172632" y="4220413"/>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8" name="Text Placeholder 3">
            <a:extLst>
              <a:ext uri="{FF2B5EF4-FFF2-40B4-BE49-F238E27FC236}">
                <a16:creationId xmlns:a16="http://schemas.microsoft.com/office/drawing/2014/main" id="{541A6627-B084-FD9E-17C5-37190B572364}"/>
              </a:ext>
            </a:extLst>
          </p:cNvPr>
          <p:cNvSpPr>
            <a:spLocks noGrp="1"/>
          </p:cNvSpPr>
          <p:nvPr>
            <p:ph type="body" sz="quarter" idx="25" hasCustomPrompt="1"/>
          </p:nvPr>
        </p:nvSpPr>
        <p:spPr>
          <a:xfrm>
            <a:off x="7172632" y="3778656"/>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9" name="Text Placeholder 3">
            <a:extLst>
              <a:ext uri="{FF2B5EF4-FFF2-40B4-BE49-F238E27FC236}">
                <a16:creationId xmlns:a16="http://schemas.microsoft.com/office/drawing/2014/main" id="{8821976B-3ACE-3FFD-935F-FA58CBF6FE7A}"/>
              </a:ext>
            </a:extLst>
          </p:cNvPr>
          <p:cNvSpPr>
            <a:spLocks noGrp="1"/>
          </p:cNvSpPr>
          <p:nvPr>
            <p:ph type="body" sz="quarter" idx="26" hasCustomPrompt="1"/>
          </p:nvPr>
        </p:nvSpPr>
        <p:spPr>
          <a:xfrm>
            <a:off x="7172632" y="3336899"/>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20" name="Text Placeholder 3">
            <a:extLst>
              <a:ext uri="{FF2B5EF4-FFF2-40B4-BE49-F238E27FC236}">
                <a16:creationId xmlns:a16="http://schemas.microsoft.com/office/drawing/2014/main" id="{537EE578-864D-BCF8-AC69-343176EDFC8E}"/>
              </a:ext>
            </a:extLst>
          </p:cNvPr>
          <p:cNvSpPr>
            <a:spLocks noGrp="1"/>
          </p:cNvSpPr>
          <p:nvPr>
            <p:ph type="body" sz="quarter" idx="27" hasCustomPrompt="1"/>
          </p:nvPr>
        </p:nvSpPr>
        <p:spPr>
          <a:xfrm>
            <a:off x="7172632" y="2895142"/>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Tree>
    <p:extLst>
      <p:ext uri="{BB962C8B-B14F-4D97-AF65-F5344CB8AC3E}">
        <p14:creationId xmlns:p14="http://schemas.microsoft.com/office/powerpoint/2010/main" val="3913749757"/>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Header+Line-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B7A9713E-A2D4-AA82-9830-9D62EC5F1F0F}"/>
              </a:ext>
            </a:extLst>
          </p:cNvPr>
          <p:cNvSpPr>
            <a:spLocks noGrp="1"/>
          </p:cNvSpPr>
          <p:nvPr>
            <p:ph type="body" sz="quarter" idx="13" hasCustomPrompt="1"/>
          </p:nvPr>
        </p:nvSpPr>
        <p:spPr>
          <a:xfrm>
            <a:off x="723900" y="706983"/>
            <a:ext cx="10744200" cy="576250"/>
          </a:xfrm>
          <a:prstGeom prst="rect">
            <a:avLst/>
          </a:prstGeom>
        </p:spPr>
        <p:txBody>
          <a:bodyPr lIns="0" tIns="0" rIns="0" bIns="0" anchor="t"/>
          <a:lstStyle>
            <a:lvl1pPr marL="0" indent="0">
              <a:buNone/>
              <a:defRPr sz="3600" b="0" i="0" spc="0" baseline="0">
                <a:latin typeface="+mj-lt"/>
                <a:cs typeface="Segoe UI Semibold" panose="020B0502040204020203" pitchFamily="34" charset="0"/>
              </a:defRPr>
            </a:lvl1pPr>
          </a:lstStyle>
          <a:p>
            <a:pPr lvl="0"/>
            <a:r>
              <a:rPr lang="en-US"/>
              <a:t>Header</a:t>
            </a:r>
          </a:p>
        </p:txBody>
      </p:sp>
    </p:spTree>
    <p:extLst>
      <p:ext uri="{BB962C8B-B14F-4D97-AF65-F5344CB8AC3E}">
        <p14:creationId xmlns:p14="http://schemas.microsoft.com/office/powerpoint/2010/main" val="845578943"/>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Header+Sub-BAP">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5CFE0507-419B-2AD3-2F04-C5627C43E438}"/>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0" name="Text Placeholder 3">
            <a:extLst>
              <a:ext uri="{FF2B5EF4-FFF2-40B4-BE49-F238E27FC236}">
                <a16:creationId xmlns:a16="http://schemas.microsoft.com/office/drawing/2014/main" id="{8209071E-BA5F-3D32-23DF-4732CA348D77}"/>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solidFill>
                  <a:schemeClr val="accent1"/>
                </a:solidFill>
                <a:latin typeface="Segoe UI Semibold" panose="020B0502040204020203" pitchFamily="34" charset="0"/>
                <a:cs typeface="Segoe UI Semibold" panose="020B0502040204020203" pitchFamily="34" charset="0"/>
              </a:defRPr>
            </a:lvl1pPr>
          </a:lstStyle>
          <a:p>
            <a:pPr lvl="0"/>
            <a:r>
              <a:rPr lang="en-US"/>
              <a:t>Sub-header</a:t>
            </a:r>
          </a:p>
        </p:txBody>
      </p:sp>
    </p:spTree>
    <p:extLst>
      <p:ext uri="{BB962C8B-B14F-4D97-AF65-F5344CB8AC3E}">
        <p14:creationId xmlns:p14="http://schemas.microsoft.com/office/powerpoint/2010/main" val="2708802021"/>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Header+Sub+Line-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0D251B01-DF96-EFB9-4E9F-63D984E5199D}"/>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3" name="Text Placeholder 3">
            <a:extLst>
              <a:ext uri="{FF2B5EF4-FFF2-40B4-BE49-F238E27FC236}">
                <a16:creationId xmlns:a16="http://schemas.microsoft.com/office/drawing/2014/main" id="{FA6598BD-7591-9E14-29E7-BAE1D93F52CC}"/>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latin typeface="Segoe UI Semibold" panose="020B0502040204020203" pitchFamily="34" charset="0"/>
                <a:cs typeface="Segoe UI Semibold" panose="020B0502040204020203" pitchFamily="34" charset="0"/>
              </a:defRPr>
            </a:lvl1pPr>
          </a:lstStyle>
          <a:p>
            <a:pPr lvl="0"/>
            <a:r>
              <a:rPr lang="en-US"/>
              <a:t>Sub-header</a:t>
            </a:r>
          </a:p>
        </p:txBody>
      </p:sp>
      <p:cxnSp>
        <p:nvCxnSpPr>
          <p:cNvPr id="4" name="Straight Connector 3">
            <a:extLst>
              <a:ext uri="{FF2B5EF4-FFF2-40B4-BE49-F238E27FC236}">
                <a16:creationId xmlns:a16="http://schemas.microsoft.com/office/drawing/2014/main" id="{2F391638-C550-57AE-2199-672C95E88A56}"/>
              </a:ext>
            </a:extLst>
          </p:cNvPr>
          <p:cNvCxnSpPr>
            <a:cxnSpLocks/>
          </p:cNvCxnSpPr>
          <p:nvPr/>
        </p:nvCxnSpPr>
        <p:spPr>
          <a:xfrm>
            <a:off x="762000" y="1819002"/>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8619741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4Column-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20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3" name="Text Placeholder 3">
            <a:extLst>
              <a:ext uri="{FF2B5EF4-FFF2-40B4-BE49-F238E27FC236}">
                <a16:creationId xmlns:a16="http://schemas.microsoft.com/office/drawing/2014/main" id="{B3B51764-CCF0-C566-D2B9-CA984FB62B8E}"/>
              </a:ext>
            </a:extLst>
          </p:cNvPr>
          <p:cNvSpPr>
            <a:spLocks noGrp="1"/>
          </p:cNvSpPr>
          <p:nvPr>
            <p:ph type="body" sz="quarter" idx="16" hasCustomPrompt="1"/>
          </p:nvPr>
        </p:nvSpPr>
        <p:spPr>
          <a:xfrm>
            <a:off x="35052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5" name="Text Placeholder 3">
            <a:extLst>
              <a:ext uri="{FF2B5EF4-FFF2-40B4-BE49-F238E27FC236}">
                <a16:creationId xmlns:a16="http://schemas.microsoft.com/office/drawing/2014/main" id="{5DB15D2B-9C93-5EB5-C162-78FF2DC4B446}"/>
              </a:ext>
            </a:extLst>
          </p:cNvPr>
          <p:cNvSpPr>
            <a:spLocks noGrp="1"/>
          </p:cNvSpPr>
          <p:nvPr>
            <p:ph type="body" sz="quarter" idx="18" hasCustomPrompt="1"/>
          </p:nvPr>
        </p:nvSpPr>
        <p:spPr>
          <a:xfrm>
            <a:off x="89916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 name="Text Placeholder 3">
            <a:extLst>
              <a:ext uri="{FF2B5EF4-FFF2-40B4-BE49-F238E27FC236}">
                <a16:creationId xmlns:a16="http://schemas.microsoft.com/office/drawing/2014/main" id="{9CF18275-BFA4-5CAD-99D0-8C049CC4E150}"/>
              </a:ext>
            </a:extLst>
          </p:cNvPr>
          <p:cNvSpPr>
            <a:spLocks noGrp="1"/>
          </p:cNvSpPr>
          <p:nvPr>
            <p:ph type="body" sz="quarter" idx="22" hasCustomPrompt="1"/>
          </p:nvPr>
        </p:nvSpPr>
        <p:spPr>
          <a:xfrm>
            <a:off x="8997950" y="2663315"/>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9" y="2663315"/>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4" name="Text Placeholder 3">
            <a:extLst>
              <a:ext uri="{FF2B5EF4-FFF2-40B4-BE49-F238E27FC236}">
                <a16:creationId xmlns:a16="http://schemas.microsoft.com/office/drawing/2014/main" id="{5EF0380E-7655-ABF6-9CA4-18BA33435673}"/>
              </a:ext>
            </a:extLst>
          </p:cNvPr>
          <p:cNvSpPr>
            <a:spLocks noGrp="1"/>
          </p:cNvSpPr>
          <p:nvPr>
            <p:ph type="body" sz="quarter" idx="24" hasCustomPrompt="1"/>
          </p:nvPr>
        </p:nvSpPr>
        <p:spPr>
          <a:xfrm>
            <a:off x="3511549" y="2663315"/>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9" y="2663315"/>
            <a:ext cx="2432304"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447540"/>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2515536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Column+Sub-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7" name="Text Placeholder 3">
            <a:extLst>
              <a:ext uri="{FF2B5EF4-FFF2-40B4-BE49-F238E27FC236}">
                <a16:creationId xmlns:a16="http://schemas.microsoft.com/office/drawing/2014/main" id="{78FF928C-9DF4-5DBD-46C2-5FFABF832DA5}"/>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latin typeface="Segoe UI Semibold" panose="020B0502040204020203" pitchFamily="34" charset="0"/>
                <a:cs typeface="Segoe UI Semibold" panose="020B0502040204020203" pitchFamily="34" charset="0"/>
              </a:defRPr>
            </a:lvl1pPr>
          </a:lstStyle>
          <a:p>
            <a:pPr lvl="0"/>
            <a:r>
              <a:rPr lang="en-US"/>
              <a:t>Sub-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20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3" name="Text Placeholder 3">
            <a:extLst>
              <a:ext uri="{FF2B5EF4-FFF2-40B4-BE49-F238E27FC236}">
                <a16:creationId xmlns:a16="http://schemas.microsoft.com/office/drawing/2014/main" id="{B3B51764-CCF0-C566-D2B9-CA984FB62B8E}"/>
              </a:ext>
            </a:extLst>
          </p:cNvPr>
          <p:cNvSpPr>
            <a:spLocks noGrp="1"/>
          </p:cNvSpPr>
          <p:nvPr>
            <p:ph type="body" sz="quarter" idx="16" hasCustomPrompt="1"/>
          </p:nvPr>
        </p:nvSpPr>
        <p:spPr>
          <a:xfrm>
            <a:off x="35052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5" name="Text Placeholder 3">
            <a:extLst>
              <a:ext uri="{FF2B5EF4-FFF2-40B4-BE49-F238E27FC236}">
                <a16:creationId xmlns:a16="http://schemas.microsoft.com/office/drawing/2014/main" id="{5DB15D2B-9C93-5EB5-C162-78FF2DC4B446}"/>
              </a:ext>
            </a:extLst>
          </p:cNvPr>
          <p:cNvSpPr>
            <a:spLocks noGrp="1"/>
          </p:cNvSpPr>
          <p:nvPr>
            <p:ph type="body" sz="quarter" idx="18" hasCustomPrompt="1"/>
          </p:nvPr>
        </p:nvSpPr>
        <p:spPr>
          <a:xfrm>
            <a:off x="89916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 name="Text Placeholder 3">
            <a:extLst>
              <a:ext uri="{FF2B5EF4-FFF2-40B4-BE49-F238E27FC236}">
                <a16:creationId xmlns:a16="http://schemas.microsoft.com/office/drawing/2014/main" id="{9CF18275-BFA4-5CAD-99D0-8C049CC4E150}"/>
              </a:ext>
            </a:extLst>
          </p:cNvPr>
          <p:cNvSpPr>
            <a:spLocks noGrp="1"/>
          </p:cNvSpPr>
          <p:nvPr>
            <p:ph type="body" sz="quarter" idx="22" hasCustomPrompt="1"/>
          </p:nvPr>
        </p:nvSpPr>
        <p:spPr>
          <a:xfrm>
            <a:off x="8997950" y="3019219"/>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9" y="3019219"/>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4" name="Text Placeholder 3">
            <a:extLst>
              <a:ext uri="{FF2B5EF4-FFF2-40B4-BE49-F238E27FC236}">
                <a16:creationId xmlns:a16="http://schemas.microsoft.com/office/drawing/2014/main" id="{5EF0380E-7655-ABF6-9CA4-18BA33435673}"/>
              </a:ext>
            </a:extLst>
          </p:cNvPr>
          <p:cNvSpPr>
            <a:spLocks noGrp="1"/>
          </p:cNvSpPr>
          <p:nvPr>
            <p:ph type="body" sz="quarter" idx="24" hasCustomPrompt="1"/>
          </p:nvPr>
        </p:nvSpPr>
        <p:spPr>
          <a:xfrm>
            <a:off x="3511549" y="3019219"/>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9" y="3019219"/>
            <a:ext cx="2432304"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819002"/>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7807172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Column-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2000" y="1898585"/>
            <a:ext cx="5181600"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1898585"/>
            <a:ext cx="5181600"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8" y="2663315"/>
            <a:ext cx="5189789"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9" y="2663315"/>
            <a:ext cx="5181600"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447540"/>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04140311"/>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Column+Sub-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7" name="Text Placeholder 3">
            <a:extLst>
              <a:ext uri="{FF2B5EF4-FFF2-40B4-BE49-F238E27FC236}">
                <a16:creationId xmlns:a16="http://schemas.microsoft.com/office/drawing/2014/main" id="{78FF928C-9DF4-5DBD-46C2-5FFABF832DA5}"/>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latin typeface="Segoe UI Semibold" panose="020B0502040204020203" pitchFamily="34" charset="0"/>
                <a:cs typeface="Segoe UI Semibold" panose="020B0502040204020203" pitchFamily="34" charset="0"/>
              </a:defRPr>
            </a:lvl1pPr>
          </a:lstStyle>
          <a:p>
            <a:pPr lvl="0"/>
            <a:r>
              <a:rPr lang="en-US"/>
              <a:t>Sub-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1999" y="2254489"/>
            <a:ext cx="5181601"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2254489"/>
            <a:ext cx="5168202"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9" y="3019219"/>
            <a:ext cx="5176370"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8" y="3019219"/>
            <a:ext cx="5181601"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819002"/>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4773242"/>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ectionDivider-BAP">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70265D-40F7-C38A-AFE5-C756DD2E24C5}"/>
              </a:ext>
            </a:extLst>
          </p:cNvPr>
          <p:cNvSpPr>
            <a:spLocks noGrp="1"/>
          </p:cNvSpPr>
          <p:nvPr>
            <p:ph type="body" sz="quarter" idx="12" hasCustomPrompt="1"/>
          </p:nvPr>
        </p:nvSpPr>
        <p:spPr>
          <a:xfrm>
            <a:off x="783772" y="2841625"/>
            <a:ext cx="10668000" cy="1143000"/>
          </a:xfrm>
          <a:prstGeom prst="rect">
            <a:avLst/>
          </a:prstGeom>
        </p:spPr>
        <p:txBody>
          <a:bodyPr lIns="0" tIns="0" rIns="0" bIns="0" anchor="ctr"/>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131324166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Divider+Sub-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005F583-FAF0-4294-FF72-9F084DA367C4}"/>
              </a:ext>
            </a:extLst>
          </p:cNvPr>
          <p:cNvSpPr>
            <a:spLocks noGrp="1"/>
          </p:cNvSpPr>
          <p:nvPr>
            <p:ph type="body" sz="quarter" idx="14" hasCustomPrompt="1"/>
          </p:nvPr>
        </p:nvSpPr>
        <p:spPr>
          <a:xfrm>
            <a:off x="783772" y="3984625"/>
            <a:ext cx="10668000" cy="400110"/>
          </a:xfrm>
          <a:prstGeom prst="rect">
            <a:avLst/>
          </a:prstGeom>
        </p:spPr>
        <p:txBody>
          <a:bodyPr lIns="0" tIns="0" rIns="0" bIns="0" anchor="t"/>
          <a:lstStyle>
            <a:lvl1pPr marL="0" indent="0">
              <a:buNone/>
              <a:defRPr sz="2000" b="1" i="0" spc="0" baseline="0">
                <a:solidFill>
                  <a:schemeClr val="accent1"/>
                </a:solidFill>
                <a:latin typeface="Segoe UI Semibold" panose="020B0502040204020203" pitchFamily="34" charset="0"/>
                <a:cs typeface="Segoe UI Semibold" panose="020B0502040204020203" pitchFamily="34" charset="0"/>
              </a:defRPr>
            </a:lvl1pPr>
          </a:lstStyle>
          <a:p>
            <a:pPr lvl="0"/>
            <a:r>
              <a:rPr lang="en-US"/>
              <a:t>Sub-Title</a:t>
            </a:r>
          </a:p>
        </p:txBody>
      </p:sp>
      <p:sp>
        <p:nvSpPr>
          <p:cNvPr id="7" name="Text Placeholder 3">
            <a:extLst>
              <a:ext uri="{FF2B5EF4-FFF2-40B4-BE49-F238E27FC236}">
                <a16:creationId xmlns:a16="http://schemas.microsoft.com/office/drawing/2014/main" id="{71186AC0-1D36-2FDC-23D8-FC80FE00867C}"/>
              </a:ext>
            </a:extLst>
          </p:cNvPr>
          <p:cNvSpPr>
            <a:spLocks noGrp="1"/>
          </p:cNvSpPr>
          <p:nvPr>
            <p:ph type="body" sz="quarter" idx="12" hasCustomPrompt="1"/>
          </p:nvPr>
        </p:nvSpPr>
        <p:spPr>
          <a:xfrm>
            <a:off x="783772" y="2613027"/>
            <a:ext cx="10668000" cy="1143000"/>
          </a:xfrm>
          <a:prstGeom prst="rect">
            <a:avLst/>
          </a:prstGeom>
        </p:spPr>
        <p:txBody>
          <a:bodyPr lIns="0" tIns="0" rIns="0" bIns="0" anchor="b"/>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3232889394"/>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DividerAlt-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
        <p:nvSpPr>
          <p:cNvPr id="3" name="Rectangle: Rounded Corners 11">
            <a:extLst>
              <a:ext uri="{FF2B5EF4-FFF2-40B4-BE49-F238E27FC236}">
                <a16:creationId xmlns:a16="http://schemas.microsoft.com/office/drawing/2014/main" id="{72BFE35C-53C7-D2D9-3F3F-E45881169637}"/>
              </a:ext>
              <a:ext uri="{C183D7F6-B498-43B3-948B-1728B52AA6E4}">
                <adec:decorative xmlns:adec="http://schemas.microsoft.com/office/drawing/2017/decorative" val="1"/>
              </a:ext>
            </a:extLst>
          </p:cNvPr>
          <p:cNvSpPr/>
          <p:nvPr/>
        </p:nvSpPr>
        <p:spPr bwMode="auto">
          <a:xfrm>
            <a:off x="381000" y="381000"/>
            <a:ext cx="11429999" cy="6096000"/>
          </a:xfrm>
          <a:prstGeom prst="roundRect">
            <a:avLst>
              <a:gd name="adj" fmla="val 2125"/>
            </a:avLst>
          </a:prstGeom>
          <a:noFill/>
          <a:ln w="25400">
            <a:gradFill>
              <a:gsLst>
                <a:gs pos="0">
                  <a:schemeClr val="accent1"/>
                </a:gs>
                <a:gs pos="100000">
                  <a:schemeClr val="accent2"/>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 name="Text Placeholder 3">
            <a:extLst>
              <a:ext uri="{FF2B5EF4-FFF2-40B4-BE49-F238E27FC236}">
                <a16:creationId xmlns:a16="http://schemas.microsoft.com/office/drawing/2014/main" id="{D2199B44-6BF5-982E-B622-5327D33B7803}"/>
              </a:ext>
            </a:extLst>
          </p:cNvPr>
          <p:cNvSpPr>
            <a:spLocks noGrp="1"/>
          </p:cNvSpPr>
          <p:nvPr>
            <p:ph type="body" sz="quarter" idx="12" hasCustomPrompt="1"/>
          </p:nvPr>
        </p:nvSpPr>
        <p:spPr>
          <a:xfrm>
            <a:off x="783772" y="2841625"/>
            <a:ext cx="10668000" cy="1143000"/>
          </a:xfrm>
          <a:prstGeom prst="rect">
            <a:avLst/>
          </a:prstGeom>
        </p:spPr>
        <p:txBody>
          <a:bodyPr lIns="0" tIns="0" rIns="0" bIns="0" anchor="ctr"/>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663639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999"/>
                                          </p:stCondLst>
                                        </p:cTn>
                                        <p:tgtEl>
                                          <p:spTgt spid="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1000" fill="hold"/>
                                        <p:tgtEl>
                                          <p:spTgt spid="3"/>
                                        </p:tgtEl>
                                      </p:cBhvr>
                                      <p:by x="0" y="0"/>
                                    </p:animScale>
                                  </p:childTnLst>
                                </p:cTn>
                              </p:par>
                              <p:par>
                                <p:cTn id="9" presetID="42" presetClass="path" presetSubtype="0" accel="100000" autoRev="1" fill="hold" grpId="2" nodeType="withEffect">
                                  <p:stCondLst>
                                    <p:cond delay="0"/>
                                  </p:stCondLst>
                                  <p:childTnLst>
                                    <p:animMotion origin="layout" path="M 0 0 L -0.45273 -0.41875 " pathEditMode="relative" rAng="0" ptsTypes="AA">
                                      <p:cBhvr>
                                        <p:cTn id="10" dur="1000" fill="hold"/>
                                        <p:tgtEl>
                                          <p:spTgt spid="3"/>
                                        </p:tgtEl>
                                        <p:attrNameLst>
                                          <p:attrName>ppt_x</p:attrName>
                                          <p:attrName>ppt_y</p:attrName>
                                        </p:attrNameLst>
                                      </p:cBhvr>
                                      <p:rCtr x="-22643" y="-20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Lst>
  </p:timing>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DividerAlt+Sub-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
        <p:nvSpPr>
          <p:cNvPr id="3" name="Rectangle: Rounded Corners 11">
            <a:extLst>
              <a:ext uri="{FF2B5EF4-FFF2-40B4-BE49-F238E27FC236}">
                <a16:creationId xmlns:a16="http://schemas.microsoft.com/office/drawing/2014/main" id="{72BFE35C-53C7-D2D9-3F3F-E45881169637}"/>
              </a:ext>
              <a:ext uri="{C183D7F6-B498-43B3-948B-1728B52AA6E4}">
                <adec:decorative xmlns:adec="http://schemas.microsoft.com/office/drawing/2017/decorative" val="1"/>
              </a:ext>
            </a:extLst>
          </p:cNvPr>
          <p:cNvSpPr/>
          <p:nvPr/>
        </p:nvSpPr>
        <p:spPr bwMode="auto">
          <a:xfrm>
            <a:off x="381000" y="381000"/>
            <a:ext cx="11429999" cy="6096000"/>
          </a:xfrm>
          <a:prstGeom prst="roundRect">
            <a:avLst>
              <a:gd name="adj" fmla="val 2125"/>
            </a:avLst>
          </a:prstGeom>
          <a:noFill/>
          <a:ln w="25400">
            <a:gradFill>
              <a:gsLst>
                <a:gs pos="0">
                  <a:schemeClr val="accent1"/>
                </a:gs>
                <a:gs pos="100000">
                  <a:schemeClr val="accent2"/>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 name="Text Placeholder 3">
            <a:extLst>
              <a:ext uri="{FF2B5EF4-FFF2-40B4-BE49-F238E27FC236}">
                <a16:creationId xmlns:a16="http://schemas.microsoft.com/office/drawing/2014/main" id="{CDE59AF7-995F-1BE2-32D1-62EF74D6C3EA}"/>
              </a:ext>
            </a:extLst>
          </p:cNvPr>
          <p:cNvSpPr>
            <a:spLocks noGrp="1"/>
          </p:cNvSpPr>
          <p:nvPr>
            <p:ph type="body" sz="quarter" idx="14" hasCustomPrompt="1"/>
          </p:nvPr>
        </p:nvSpPr>
        <p:spPr>
          <a:xfrm>
            <a:off x="783772" y="3984625"/>
            <a:ext cx="10668000" cy="400110"/>
          </a:xfrm>
          <a:prstGeom prst="rect">
            <a:avLst/>
          </a:prstGeom>
        </p:spPr>
        <p:txBody>
          <a:bodyPr lIns="0" tIns="0" rIns="0" bIns="0" anchor="t"/>
          <a:lstStyle>
            <a:lvl1pPr marL="0" indent="0">
              <a:buNone/>
              <a:defRPr sz="2000" b="1" i="0" spc="0" baseline="0">
                <a:solidFill>
                  <a:schemeClr val="accent1"/>
                </a:solidFill>
                <a:latin typeface="Segoe UI Semibold" panose="020B0502040204020203" pitchFamily="34" charset="0"/>
                <a:cs typeface="Segoe UI Semibold" panose="020B0502040204020203" pitchFamily="34" charset="0"/>
              </a:defRPr>
            </a:lvl1pPr>
          </a:lstStyle>
          <a:p>
            <a:pPr lvl="0"/>
            <a:r>
              <a:rPr lang="en-US"/>
              <a:t>Sub-Title</a:t>
            </a:r>
          </a:p>
        </p:txBody>
      </p:sp>
      <p:sp>
        <p:nvSpPr>
          <p:cNvPr id="5" name="Text Placeholder 3">
            <a:extLst>
              <a:ext uri="{FF2B5EF4-FFF2-40B4-BE49-F238E27FC236}">
                <a16:creationId xmlns:a16="http://schemas.microsoft.com/office/drawing/2014/main" id="{73CDFAEC-E778-D340-12DD-777789EB4EA6}"/>
              </a:ext>
            </a:extLst>
          </p:cNvPr>
          <p:cNvSpPr>
            <a:spLocks noGrp="1"/>
          </p:cNvSpPr>
          <p:nvPr>
            <p:ph type="body" sz="quarter" idx="12" hasCustomPrompt="1"/>
          </p:nvPr>
        </p:nvSpPr>
        <p:spPr>
          <a:xfrm>
            <a:off x="783772" y="2613027"/>
            <a:ext cx="10668000" cy="1143000"/>
          </a:xfrm>
          <a:prstGeom prst="rect">
            <a:avLst/>
          </a:prstGeom>
        </p:spPr>
        <p:txBody>
          <a:bodyPr lIns="0" tIns="0" rIns="0" bIns="0" anchor="b"/>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2656441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999"/>
                                          </p:stCondLst>
                                        </p:cTn>
                                        <p:tgtEl>
                                          <p:spTgt spid="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1000" fill="hold"/>
                                        <p:tgtEl>
                                          <p:spTgt spid="3"/>
                                        </p:tgtEl>
                                      </p:cBhvr>
                                      <p:by x="0" y="0"/>
                                    </p:animScale>
                                  </p:childTnLst>
                                </p:cTn>
                              </p:par>
                              <p:par>
                                <p:cTn id="9" presetID="42" presetClass="path" presetSubtype="0" accel="100000" autoRev="1" fill="hold" grpId="2" nodeType="withEffect">
                                  <p:stCondLst>
                                    <p:cond delay="0"/>
                                  </p:stCondLst>
                                  <p:childTnLst>
                                    <p:animMotion origin="layout" path="M 0 0 L -0.45273 -0.41875 " pathEditMode="relative" rAng="0" ptsTypes="AA">
                                      <p:cBhvr>
                                        <p:cTn id="10" dur="1000" fill="hold"/>
                                        <p:tgtEl>
                                          <p:spTgt spid="3"/>
                                        </p:tgtEl>
                                        <p:attrNameLst>
                                          <p:attrName>ppt_x</p:attrName>
                                          <p:attrName>ppt_y</p:attrName>
                                        </p:attrNameLst>
                                      </p:cBhvr>
                                      <p:rCtr x="-22643" y="-20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Lst>
  </p:timing>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ankYou-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49609893-4C4C-1F5F-4C3C-C7127E38E52F}"/>
              </a:ext>
            </a:extLst>
          </p:cNvPr>
          <p:cNvSpPr>
            <a:spLocks noGrp="1"/>
          </p:cNvSpPr>
          <p:nvPr>
            <p:ph type="body" sz="quarter" idx="12" hasCustomPrompt="1"/>
          </p:nvPr>
        </p:nvSpPr>
        <p:spPr>
          <a:xfrm>
            <a:off x="762000" y="2841625"/>
            <a:ext cx="10668000" cy="1143000"/>
          </a:xfrm>
          <a:prstGeom prst="rect">
            <a:avLst/>
          </a:prstGeom>
        </p:spPr>
        <p:txBody>
          <a:bodyPr lIns="0" tIns="0" rIns="0" bIns="0" anchor="ctr"/>
          <a:lstStyle>
            <a:lvl1pPr marL="0" indent="0" algn="ctr">
              <a:buNone/>
              <a:defRPr sz="5000" b="1" i="0" spc="-50" baseline="0">
                <a:latin typeface="Segoe UI Semibold" panose="020B0502040204020203" pitchFamily="34" charset="0"/>
                <a:cs typeface="Segoe UI Semibold" panose="020B0502040204020203" pitchFamily="34" charset="0"/>
              </a:defRPr>
            </a:lvl1pPr>
          </a:lstStyle>
          <a:p>
            <a:pPr lvl="0"/>
            <a:r>
              <a:rPr kumimoji="0" lang="en-US" sz="5400" b="0" i="0" u="none" strike="noStrike" kern="1200" cap="none" spc="-150" normalizeH="0" baseline="0" noProof="0">
                <a:ln w="3175">
                  <a:noFill/>
                </a:ln>
                <a:gradFill>
                  <a:gsLst>
                    <a:gs pos="24000">
                      <a:srgbClr val="AA9BFF">
                        <a:lumMod val="54000"/>
                        <a:lumOff val="46000"/>
                      </a:srgbClr>
                    </a:gs>
                    <a:gs pos="79000">
                      <a:srgbClr val="524BBD"/>
                    </a:gs>
                  </a:gsLst>
                  <a:lin ang="18900000" scaled="1"/>
                </a:gradFill>
                <a:effectLst/>
                <a:uLnTx/>
                <a:uFillTx/>
                <a:latin typeface="Segoe UI Semibold"/>
                <a:ea typeface="+mn-ea"/>
                <a:cs typeface="Segoe UI" pitchFamily="34" charset="0"/>
              </a:rPr>
              <a:t>Thank you</a:t>
            </a:r>
            <a:endParaRPr lang="en-US"/>
          </a:p>
        </p:txBody>
      </p:sp>
    </p:spTree>
    <p:extLst>
      <p:ext uri="{BB962C8B-B14F-4D97-AF65-F5344CB8AC3E}">
        <p14:creationId xmlns:p14="http://schemas.microsoft.com/office/powerpoint/2010/main" val="3671262315"/>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hankYou2-BAP">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05C0B41-0052-33DA-A3DE-7E6A8C132BAE}"/>
              </a:ext>
            </a:extLst>
          </p:cNvPr>
          <p:cNvSpPr>
            <a:spLocks noGrp="1"/>
          </p:cNvSpPr>
          <p:nvPr>
            <p:ph type="pic" sz="quarter" idx="10"/>
          </p:nvPr>
        </p:nvSpPr>
        <p:spPr>
          <a:xfrm>
            <a:off x="2" y="2"/>
            <a:ext cx="12191999" cy="6857999"/>
          </a:xfrm>
          <a:custGeom>
            <a:avLst/>
            <a:gdLst>
              <a:gd name="connsiteX0" fmla="*/ 12184829 w 12191999"/>
              <a:gd name="connsiteY0" fmla="*/ 4014733 h 6857999"/>
              <a:gd name="connsiteX1" fmla="*/ 12191999 w 12191999"/>
              <a:gd name="connsiteY1" fmla="*/ 4015421 h 6857999"/>
              <a:gd name="connsiteX2" fmla="*/ 12191999 w 12191999"/>
              <a:gd name="connsiteY2" fmla="*/ 6857999 h 6857999"/>
              <a:gd name="connsiteX3" fmla="*/ 10968995 w 12191999"/>
              <a:gd name="connsiteY3" fmla="*/ 6857999 h 6857999"/>
              <a:gd name="connsiteX4" fmla="*/ 10406744 w 12191999"/>
              <a:gd name="connsiteY4" fmla="*/ 6295748 h 6857999"/>
              <a:gd name="connsiteX5" fmla="*/ 10406744 w 12191999"/>
              <a:gd name="connsiteY5" fmla="*/ 5584497 h 6857999"/>
              <a:gd name="connsiteX6" fmla="*/ 11829204 w 12191999"/>
              <a:gd name="connsiteY6" fmla="*/ 4162039 h 6857999"/>
              <a:gd name="connsiteX7" fmla="*/ 12184829 w 12191999"/>
              <a:gd name="connsiteY7" fmla="*/ 4014733 h 6857999"/>
              <a:gd name="connsiteX8" fmla="*/ 8125609 w 12191999"/>
              <a:gd name="connsiteY8" fmla="*/ 4014733 h 6857999"/>
              <a:gd name="connsiteX9" fmla="*/ 8481233 w 12191999"/>
              <a:gd name="connsiteY9" fmla="*/ 4162039 h 6857999"/>
              <a:gd name="connsiteX10" fmla="*/ 9903693 w 12191999"/>
              <a:gd name="connsiteY10" fmla="*/ 5584497 h 6857999"/>
              <a:gd name="connsiteX11" fmla="*/ 9903693 w 12191999"/>
              <a:gd name="connsiteY11" fmla="*/ 6295748 h 6857999"/>
              <a:gd name="connsiteX12" fmla="*/ 9341441 w 12191999"/>
              <a:gd name="connsiteY12" fmla="*/ 6857999 h 6857999"/>
              <a:gd name="connsiteX13" fmla="*/ 6909778 w 12191999"/>
              <a:gd name="connsiteY13" fmla="*/ 6857999 h 6857999"/>
              <a:gd name="connsiteX14" fmla="*/ 6347526 w 12191999"/>
              <a:gd name="connsiteY14" fmla="*/ 6295748 h 6857999"/>
              <a:gd name="connsiteX15" fmla="*/ 6347526 w 12191999"/>
              <a:gd name="connsiteY15" fmla="*/ 5584497 h 6857999"/>
              <a:gd name="connsiteX16" fmla="*/ 7769984 w 12191999"/>
              <a:gd name="connsiteY16" fmla="*/ 4162039 h 6857999"/>
              <a:gd name="connsiteX17" fmla="*/ 8125609 w 12191999"/>
              <a:gd name="connsiteY17" fmla="*/ 4014733 h 6857999"/>
              <a:gd name="connsiteX18" fmla="*/ 4066390 w 12191999"/>
              <a:gd name="connsiteY18" fmla="*/ 4014733 h 6857999"/>
              <a:gd name="connsiteX19" fmla="*/ 4422015 w 12191999"/>
              <a:gd name="connsiteY19" fmla="*/ 4162039 h 6857999"/>
              <a:gd name="connsiteX20" fmla="*/ 5844475 w 12191999"/>
              <a:gd name="connsiteY20" fmla="*/ 5584499 h 6857999"/>
              <a:gd name="connsiteX21" fmla="*/ 5844475 w 12191999"/>
              <a:gd name="connsiteY21" fmla="*/ 6295748 h 6857999"/>
              <a:gd name="connsiteX22" fmla="*/ 5282223 w 12191999"/>
              <a:gd name="connsiteY22" fmla="*/ 6857999 h 6857999"/>
              <a:gd name="connsiteX23" fmla="*/ 2850559 w 12191999"/>
              <a:gd name="connsiteY23" fmla="*/ 6857999 h 6857999"/>
              <a:gd name="connsiteX24" fmla="*/ 2288307 w 12191999"/>
              <a:gd name="connsiteY24" fmla="*/ 6295747 h 6857999"/>
              <a:gd name="connsiteX25" fmla="*/ 2288307 w 12191999"/>
              <a:gd name="connsiteY25" fmla="*/ 5584498 h 6857999"/>
              <a:gd name="connsiteX26" fmla="*/ 3710766 w 12191999"/>
              <a:gd name="connsiteY26" fmla="*/ 4162039 h 6857999"/>
              <a:gd name="connsiteX27" fmla="*/ 4066390 w 12191999"/>
              <a:gd name="connsiteY27" fmla="*/ 4014733 h 6857999"/>
              <a:gd name="connsiteX28" fmla="*/ 7173 w 12191999"/>
              <a:gd name="connsiteY28" fmla="*/ 4014733 h 6857999"/>
              <a:gd name="connsiteX29" fmla="*/ 362798 w 12191999"/>
              <a:gd name="connsiteY29" fmla="*/ 4162038 h 6857999"/>
              <a:gd name="connsiteX30" fmla="*/ 1785256 w 12191999"/>
              <a:gd name="connsiteY30" fmla="*/ 5584497 h 6857999"/>
              <a:gd name="connsiteX31" fmla="*/ 1785256 w 12191999"/>
              <a:gd name="connsiteY31" fmla="*/ 6295748 h 6857999"/>
              <a:gd name="connsiteX32" fmla="*/ 1223004 w 12191999"/>
              <a:gd name="connsiteY32" fmla="*/ 6857999 h 6857999"/>
              <a:gd name="connsiteX33" fmla="*/ 0 w 12191999"/>
              <a:gd name="connsiteY33" fmla="*/ 6857999 h 6857999"/>
              <a:gd name="connsiteX34" fmla="*/ 0 w 12191999"/>
              <a:gd name="connsiteY34" fmla="*/ 4015421 h 6857999"/>
              <a:gd name="connsiteX35" fmla="*/ 10162390 w 12191999"/>
              <a:gd name="connsiteY35" fmla="*/ 1503612 h 6857999"/>
              <a:gd name="connsiteX36" fmla="*/ 10518015 w 12191999"/>
              <a:gd name="connsiteY36" fmla="*/ 1650917 h 6857999"/>
              <a:gd name="connsiteX37" fmla="*/ 11940474 w 12191999"/>
              <a:gd name="connsiteY37" fmla="*/ 3073375 h 6857999"/>
              <a:gd name="connsiteX38" fmla="*/ 11940474 w 12191999"/>
              <a:gd name="connsiteY38" fmla="*/ 3784624 h 6857999"/>
              <a:gd name="connsiteX39" fmla="*/ 10518015 w 12191999"/>
              <a:gd name="connsiteY39" fmla="*/ 5207083 h 6857999"/>
              <a:gd name="connsiteX40" fmla="*/ 9806765 w 12191999"/>
              <a:gd name="connsiteY40" fmla="*/ 5207082 h 6857999"/>
              <a:gd name="connsiteX41" fmla="*/ 8384306 w 12191999"/>
              <a:gd name="connsiteY41" fmla="*/ 3784625 h 6857999"/>
              <a:gd name="connsiteX42" fmla="*/ 8384307 w 12191999"/>
              <a:gd name="connsiteY42" fmla="*/ 3073375 h 6857999"/>
              <a:gd name="connsiteX43" fmla="*/ 9806765 w 12191999"/>
              <a:gd name="connsiteY43" fmla="*/ 1650917 h 6857999"/>
              <a:gd name="connsiteX44" fmla="*/ 10162390 w 12191999"/>
              <a:gd name="connsiteY44" fmla="*/ 1503612 h 6857999"/>
              <a:gd name="connsiteX45" fmla="*/ 6096000 w 12191999"/>
              <a:gd name="connsiteY45" fmla="*/ 1503612 h 6857999"/>
              <a:gd name="connsiteX46" fmla="*/ 6451625 w 12191999"/>
              <a:gd name="connsiteY46" fmla="*/ 1650917 h 6857999"/>
              <a:gd name="connsiteX47" fmla="*/ 7874083 w 12191999"/>
              <a:gd name="connsiteY47" fmla="*/ 3073376 h 6857999"/>
              <a:gd name="connsiteX48" fmla="*/ 7874083 w 12191999"/>
              <a:gd name="connsiteY48" fmla="*/ 3784625 h 6857999"/>
              <a:gd name="connsiteX49" fmla="*/ 6451625 w 12191999"/>
              <a:gd name="connsiteY49" fmla="*/ 5207083 h 6857999"/>
              <a:gd name="connsiteX50" fmla="*/ 5740376 w 12191999"/>
              <a:gd name="connsiteY50" fmla="*/ 5207082 h 6857999"/>
              <a:gd name="connsiteX51" fmla="*/ 4317917 w 12191999"/>
              <a:gd name="connsiteY51" fmla="*/ 3784625 h 6857999"/>
              <a:gd name="connsiteX52" fmla="*/ 4317917 w 12191999"/>
              <a:gd name="connsiteY52" fmla="*/ 3073375 h 6857999"/>
              <a:gd name="connsiteX53" fmla="*/ 5740376 w 12191999"/>
              <a:gd name="connsiteY53" fmla="*/ 1650917 h 6857999"/>
              <a:gd name="connsiteX54" fmla="*/ 6096000 w 12191999"/>
              <a:gd name="connsiteY54" fmla="*/ 1503612 h 6857999"/>
              <a:gd name="connsiteX55" fmla="*/ 2029612 w 12191999"/>
              <a:gd name="connsiteY55" fmla="*/ 1503612 h 6857999"/>
              <a:gd name="connsiteX56" fmla="*/ 2385238 w 12191999"/>
              <a:gd name="connsiteY56" fmla="*/ 1650917 h 6857999"/>
              <a:gd name="connsiteX57" fmla="*/ 3807696 w 12191999"/>
              <a:gd name="connsiteY57" fmla="*/ 3073376 h 6857999"/>
              <a:gd name="connsiteX58" fmla="*/ 3807696 w 12191999"/>
              <a:gd name="connsiteY58" fmla="*/ 3784625 h 6857999"/>
              <a:gd name="connsiteX59" fmla="*/ 2385238 w 12191999"/>
              <a:gd name="connsiteY59" fmla="*/ 5207083 h 6857999"/>
              <a:gd name="connsiteX60" fmla="*/ 1673987 w 12191999"/>
              <a:gd name="connsiteY60" fmla="*/ 5207083 h 6857999"/>
              <a:gd name="connsiteX61" fmla="*/ 251529 w 12191999"/>
              <a:gd name="connsiteY61" fmla="*/ 3784625 h 6857999"/>
              <a:gd name="connsiteX62" fmla="*/ 251529 w 12191999"/>
              <a:gd name="connsiteY62" fmla="*/ 3073376 h 6857999"/>
              <a:gd name="connsiteX63" fmla="*/ 1673987 w 12191999"/>
              <a:gd name="connsiteY63" fmla="*/ 1650917 h 6857999"/>
              <a:gd name="connsiteX64" fmla="*/ 2029612 w 12191999"/>
              <a:gd name="connsiteY64" fmla="*/ 1503612 h 6857999"/>
              <a:gd name="connsiteX65" fmla="*/ 10968997 w 12191999"/>
              <a:gd name="connsiteY65" fmla="*/ 0 h 6857999"/>
              <a:gd name="connsiteX66" fmla="*/ 12191999 w 12191999"/>
              <a:gd name="connsiteY66" fmla="*/ 0 h 6857999"/>
              <a:gd name="connsiteX67" fmla="*/ 12191999 w 12191999"/>
              <a:gd name="connsiteY67" fmla="*/ 2842579 h 6857999"/>
              <a:gd name="connsiteX68" fmla="*/ 12184829 w 12191999"/>
              <a:gd name="connsiteY68" fmla="*/ 2843266 h 6857999"/>
              <a:gd name="connsiteX69" fmla="*/ 11829203 w 12191999"/>
              <a:gd name="connsiteY69" fmla="*/ 2695961 h 6857999"/>
              <a:gd name="connsiteX70" fmla="*/ 10406745 w 12191999"/>
              <a:gd name="connsiteY70" fmla="*/ 1273503 h 6857999"/>
              <a:gd name="connsiteX71" fmla="*/ 10406745 w 12191999"/>
              <a:gd name="connsiteY71" fmla="*/ 562252 h 6857999"/>
              <a:gd name="connsiteX72" fmla="*/ 9341441 w 12191999"/>
              <a:gd name="connsiteY72" fmla="*/ 0 h 6857999"/>
              <a:gd name="connsiteX73" fmla="*/ 9903692 w 12191999"/>
              <a:gd name="connsiteY73" fmla="*/ 562252 h 6857999"/>
              <a:gd name="connsiteX74" fmla="*/ 9903692 w 12191999"/>
              <a:gd name="connsiteY74" fmla="*/ 1273503 h 6857999"/>
              <a:gd name="connsiteX75" fmla="*/ 8481233 w 12191999"/>
              <a:gd name="connsiteY75" fmla="*/ 2695962 h 6857999"/>
              <a:gd name="connsiteX76" fmla="*/ 7769984 w 12191999"/>
              <a:gd name="connsiteY76" fmla="*/ 2695962 h 6857999"/>
              <a:gd name="connsiteX77" fmla="*/ 6347525 w 12191999"/>
              <a:gd name="connsiteY77" fmla="*/ 1273503 h 6857999"/>
              <a:gd name="connsiteX78" fmla="*/ 6347525 w 12191999"/>
              <a:gd name="connsiteY78" fmla="*/ 562252 h 6857999"/>
              <a:gd name="connsiteX79" fmla="*/ 6909776 w 12191999"/>
              <a:gd name="connsiteY79" fmla="*/ 1 h 6857999"/>
              <a:gd name="connsiteX80" fmla="*/ 2850560 w 12191999"/>
              <a:gd name="connsiteY80" fmla="*/ 0 h 6857999"/>
              <a:gd name="connsiteX81" fmla="*/ 5282224 w 12191999"/>
              <a:gd name="connsiteY81" fmla="*/ 0 h 6857999"/>
              <a:gd name="connsiteX82" fmla="*/ 5844475 w 12191999"/>
              <a:gd name="connsiteY82" fmla="*/ 562251 h 6857999"/>
              <a:gd name="connsiteX83" fmla="*/ 5844475 w 12191999"/>
              <a:gd name="connsiteY83" fmla="*/ 1273503 h 6857999"/>
              <a:gd name="connsiteX84" fmla="*/ 4422017 w 12191999"/>
              <a:gd name="connsiteY84" fmla="*/ 2695961 h 6857999"/>
              <a:gd name="connsiteX85" fmla="*/ 3710767 w 12191999"/>
              <a:gd name="connsiteY85" fmla="*/ 2695961 h 6857999"/>
              <a:gd name="connsiteX86" fmla="*/ 2288308 w 12191999"/>
              <a:gd name="connsiteY86" fmla="*/ 1273503 h 6857999"/>
              <a:gd name="connsiteX87" fmla="*/ 2288308 w 12191999"/>
              <a:gd name="connsiteY87" fmla="*/ 562252 h 6857999"/>
              <a:gd name="connsiteX88" fmla="*/ 0 w 12191999"/>
              <a:gd name="connsiteY88" fmla="*/ 0 h 6857999"/>
              <a:gd name="connsiteX89" fmla="*/ 1223004 w 12191999"/>
              <a:gd name="connsiteY89" fmla="*/ 0 h 6857999"/>
              <a:gd name="connsiteX90" fmla="*/ 1785255 w 12191999"/>
              <a:gd name="connsiteY90" fmla="*/ 562252 h 6857999"/>
              <a:gd name="connsiteX91" fmla="*/ 1785255 w 12191999"/>
              <a:gd name="connsiteY91" fmla="*/ 1273503 h 6857999"/>
              <a:gd name="connsiteX92" fmla="*/ 362797 w 12191999"/>
              <a:gd name="connsiteY92" fmla="*/ 2695961 h 6857999"/>
              <a:gd name="connsiteX93" fmla="*/ 7172 w 12191999"/>
              <a:gd name="connsiteY93" fmla="*/ 2843266 h 6857999"/>
              <a:gd name="connsiteX94" fmla="*/ 0 w 12191999"/>
              <a:gd name="connsiteY94" fmla="*/ 28425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2191999" h="6857999">
                <a:moveTo>
                  <a:pt x="12184829" y="4014733"/>
                </a:moveTo>
                <a:lnTo>
                  <a:pt x="12191999" y="4015421"/>
                </a:lnTo>
                <a:lnTo>
                  <a:pt x="12191999" y="6857999"/>
                </a:lnTo>
                <a:lnTo>
                  <a:pt x="10968995" y="6857999"/>
                </a:lnTo>
                <a:lnTo>
                  <a:pt x="10406744" y="6295748"/>
                </a:lnTo>
                <a:cubicBezTo>
                  <a:pt x="10210339" y="6099341"/>
                  <a:pt x="10210339" y="5780904"/>
                  <a:pt x="10406744" y="5584497"/>
                </a:cubicBezTo>
                <a:lnTo>
                  <a:pt x="11829204" y="4162039"/>
                </a:lnTo>
                <a:cubicBezTo>
                  <a:pt x="11927406" y="4063835"/>
                  <a:pt x="12056117" y="4014734"/>
                  <a:pt x="12184829" y="4014733"/>
                </a:cubicBezTo>
                <a:close/>
                <a:moveTo>
                  <a:pt x="8125609" y="4014733"/>
                </a:moveTo>
                <a:cubicBezTo>
                  <a:pt x="8254320" y="4014734"/>
                  <a:pt x="8383030" y="4063836"/>
                  <a:pt x="8481233" y="4162039"/>
                </a:cubicBezTo>
                <a:lnTo>
                  <a:pt x="9903693" y="5584497"/>
                </a:lnTo>
                <a:cubicBezTo>
                  <a:pt x="10100098" y="5780904"/>
                  <a:pt x="10100098" y="6099341"/>
                  <a:pt x="9903693" y="6295748"/>
                </a:cubicBezTo>
                <a:lnTo>
                  <a:pt x="9341441" y="6857999"/>
                </a:lnTo>
                <a:lnTo>
                  <a:pt x="6909778" y="6857999"/>
                </a:lnTo>
                <a:lnTo>
                  <a:pt x="6347526" y="6295748"/>
                </a:lnTo>
                <a:cubicBezTo>
                  <a:pt x="6151118" y="6099341"/>
                  <a:pt x="6151118" y="5780904"/>
                  <a:pt x="6347526" y="5584497"/>
                </a:cubicBezTo>
                <a:lnTo>
                  <a:pt x="7769984" y="4162039"/>
                </a:lnTo>
                <a:cubicBezTo>
                  <a:pt x="7868187" y="4063836"/>
                  <a:pt x="7996898" y="4014734"/>
                  <a:pt x="8125609" y="4014733"/>
                </a:cubicBezTo>
                <a:close/>
                <a:moveTo>
                  <a:pt x="4066390" y="4014733"/>
                </a:moveTo>
                <a:cubicBezTo>
                  <a:pt x="4195101" y="4014733"/>
                  <a:pt x="4323812" y="4063835"/>
                  <a:pt x="4422015" y="4162039"/>
                </a:cubicBezTo>
                <a:lnTo>
                  <a:pt x="5844475" y="5584499"/>
                </a:lnTo>
                <a:cubicBezTo>
                  <a:pt x="6040882" y="5780905"/>
                  <a:pt x="6040882" y="6099342"/>
                  <a:pt x="5844475" y="6295748"/>
                </a:cubicBezTo>
                <a:lnTo>
                  <a:pt x="5282223" y="6857999"/>
                </a:lnTo>
                <a:lnTo>
                  <a:pt x="2850559" y="6857999"/>
                </a:lnTo>
                <a:lnTo>
                  <a:pt x="2288307" y="6295747"/>
                </a:lnTo>
                <a:cubicBezTo>
                  <a:pt x="2091901" y="6099341"/>
                  <a:pt x="2091901" y="5780904"/>
                  <a:pt x="2288307" y="5584498"/>
                </a:cubicBezTo>
                <a:lnTo>
                  <a:pt x="3710766" y="4162039"/>
                </a:lnTo>
                <a:cubicBezTo>
                  <a:pt x="3808969" y="4063836"/>
                  <a:pt x="3937680" y="4014733"/>
                  <a:pt x="4066390" y="4014733"/>
                </a:cubicBezTo>
                <a:close/>
                <a:moveTo>
                  <a:pt x="7173" y="4014733"/>
                </a:moveTo>
                <a:cubicBezTo>
                  <a:pt x="135884" y="4014734"/>
                  <a:pt x="264594" y="4063836"/>
                  <a:pt x="362798" y="4162038"/>
                </a:cubicBezTo>
                <a:lnTo>
                  <a:pt x="1785256" y="5584497"/>
                </a:lnTo>
                <a:cubicBezTo>
                  <a:pt x="1981664" y="5780904"/>
                  <a:pt x="1981664" y="6099341"/>
                  <a:pt x="1785256" y="6295748"/>
                </a:cubicBezTo>
                <a:lnTo>
                  <a:pt x="1223004" y="6857999"/>
                </a:lnTo>
                <a:lnTo>
                  <a:pt x="0" y="6857999"/>
                </a:lnTo>
                <a:lnTo>
                  <a:pt x="0" y="4015421"/>
                </a:lnTo>
                <a:close/>
                <a:moveTo>
                  <a:pt x="10162390" y="1503612"/>
                </a:moveTo>
                <a:cubicBezTo>
                  <a:pt x="10291100" y="1503612"/>
                  <a:pt x="10419812" y="1552713"/>
                  <a:pt x="10518015" y="1650917"/>
                </a:cubicBezTo>
                <a:lnTo>
                  <a:pt x="11940474" y="3073375"/>
                </a:lnTo>
                <a:cubicBezTo>
                  <a:pt x="12136880" y="3269783"/>
                  <a:pt x="12136880" y="3588218"/>
                  <a:pt x="11940474" y="3784624"/>
                </a:cubicBezTo>
                <a:lnTo>
                  <a:pt x="10518015" y="5207083"/>
                </a:lnTo>
                <a:cubicBezTo>
                  <a:pt x="10321609" y="5403490"/>
                  <a:pt x="10003171" y="5403490"/>
                  <a:pt x="9806765" y="5207082"/>
                </a:cubicBezTo>
                <a:lnTo>
                  <a:pt x="8384306" y="3784625"/>
                </a:lnTo>
                <a:cubicBezTo>
                  <a:pt x="8187899" y="3588218"/>
                  <a:pt x="8187899" y="3269783"/>
                  <a:pt x="8384307" y="3073375"/>
                </a:cubicBezTo>
                <a:lnTo>
                  <a:pt x="9806765" y="1650917"/>
                </a:lnTo>
                <a:cubicBezTo>
                  <a:pt x="9904968" y="1552714"/>
                  <a:pt x="10033678" y="1503612"/>
                  <a:pt x="10162390" y="1503612"/>
                </a:cubicBezTo>
                <a:close/>
                <a:moveTo>
                  <a:pt x="6096000" y="1503612"/>
                </a:moveTo>
                <a:cubicBezTo>
                  <a:pt x="6224711" y="1503612"/>
                  <a:pt x="6353422" y="1552714"/>
                  <a:pt x="6451625" y="1650917"/>
                </a:cubicBezTo>
                <a:lnTo>
                  <a:pt x="7874083" y="3073376"/>
                </a:lnTo>
                <a:cubicBezTo>
                  <a:pt x="8070491" y="3269782"/>
                  <a:pt x="8070491" y="3588217"/>
                  <a:pt x="7874083" y="3784625"/>
                </a:cubicBezTo>
                <a:lnTo>
                  <a:pt x="6451625" y="5207083"/>
                </a:lnTo>
                <a:cubicBezTo>
                  <a:pt x="6255218" y="5403490"/>
                  <a:pt x="5936782" y="5403490"/>
                  <a:pt x="5740376" y="5207082"/>
                </a:cubicBezTo>
                <a:lnTo>
                  <a:pt x="4317917" y="3784625"/>
                </a:lnTo>
                <a:cubicBezTo>
                  <a:pt x="4121512" y="3588218"/>
                  <a:pt x="4121511" y="3269782"/>
                  <a:pt x="4317917" y="3073375"/>
                </a:cubicBezTo>
                <a:lnTo>
                  <a:pt x="5740376" y="1650917"/>
                </a:lnTo>
                <a:cubicBezTo>
                  <a:pt x="5838579" y="1552714"/>
                  <a:pt x="5967290" y="1503612"/>
                  <a:pt x="6096000" y="1503612"/>
                </a:cubicBezTo>
                <a:close/>
                <a:moveTo>
                  <a:pt x="2029612" y="1503612"/>
                </a:moveTo>
                <a:cubicBezTo>
                  <a:pt x="2158324" y="1503612"/>
                  <a:pt x="2287034" y="1552714"/>
                  <a:pt x="2385238" y="1650917"/>
                </a:cubicBezTo>
                <a:lnTo>
                  <a:pt x="3807696" y="3073376"/>
                </a:lnTo>
                <a:cubicBezTo>
                  <a:pt x="4004102" y="3269782"/>
                  <a:pt x="4004102" y="3588217"/>
                  <a:pt x="3807696" y="3784625"/>
                </a:cubicBezTo>
                <a:lnTo>
                  <a:pt x="2385238" y="5207083"/>
                </a:lnTo>
                <a:cubicBezTo>
                  <a:pt x="2188831" y="5403490"/>
                  <a:pt x="1870394" y="5403490"/>
                  <a:pt x="1673987" y="5207083"/>
                </a:cubicBezTo>
                <a:lnTo>
                  <a:pt x="251529" y="3784625"/>
                </a:lnTo>
                <a:cubicBezTo>
                  <a:pt x="55122" y="3588218"/>
                  <a:pt x="55121" y="3269782"/>
                  <a:pt x="251529" y="3073376"/>
                </a:cubicBezTo>
                <a:lnTo>
                  <a:pt x="1673987" y="1650917"/>
                </a:lnTo>
                <a:cubicBezTo>
                  <a:pt x="1772190" y="1552713"/>
                  <a:pt x="1900901" y="1503612"/>
                  <a:pt x="2029612" y="1503612"/>
                </a:cubicBezTo>
                <a:close/>
                <a:moveTo>
                  <a:pt x="10968997" y="0"/>
                </a:moveTo>
                <a:lnTo>
                  <a:pt x="12191999" y="0"/>
                </a:lnTo>
                <a:lnTo>
                  <a:pt x="12191999" y="2842579"/>
                </a:lnTo>
                <a:lnTo>
                  <a:pt x="12184829" y="2843266"/>
                </a:lnTo>
                <a:cubicBezTo>
                  <a:pt x="12056117" y="2843266"/>
                  <a:pt x="11927407" y="2794165"/>
                  <a:pt x="11829203" y="2695961"/>
                </a:cubicBezTo>
                <a:lnTo>
                  <a:pt x="10406745" y="1273503"/>
                </a:lnTo>
                <a:cubicBezTo>
                  <a:pt x="10210339" y="1077095"/>
                  <a:pt x="10210339" y="758658"/>
                  <a:pt x="10406745" y="562252"/>
                </a:cubicBezTo>
                <a:close/>
                <a:moveTo>
                  <a:pt x="9341441" y="0"/>
                </a:moveTo>
                <a:lnTo>
                  <a:pt x="9903692" y="562252"/>
                </a:lnTo>
                <a:cubicBezTo>
                  <a:pt x="10100099" y="758659"/>
                  <a:pt x="10100099" y="1077096"/>
                  <a:pt x="9903692" y="1273503"/>
                </a:cubicBezTo>
                <a:lnTo>
                  <a:pt x="8481233" y="2695962"/>
                </a:lnTo>
                <a:cubicBezTo>
                  <a:pt x="8284827" y="2892368"/>
                  <a:pt x="7966390" y="2892368"/>
                  <a:pt x="7769984" y="2695962"/>
                </a:cubicBezTo>
                <a:lnTo>
                  <a:pt x="6347525" y="1273503"/>
                </a:lnTo>
                <a:cubicBezTo>
                  <a:pt x="6151119" y="1077096"/>
                  <a:pt x="6151119" y="758659"/>
                  <a:pt x="6347525" y="562252"/>
                </a:cubicBezTo>
                <a:lnTo>
                  <a:pt x="6909776" y="1"/>
                </a:lnTo>
                <a:close/>
                <a:moveTo>
                  <a:pt x="2850560" y="0"/>
                </a:moveTo>
                <a:lnTo>
                  <a:pt x="5282224" y="0"/>
                </a:lnTo>
                <a:lnTo>
                  <a:pt x="5844475" y="562251"/>
                </a:lnTo>
                <a:cubicBezTo>
                  <a:pt x="6040882" y="758659"/>
                  <a:pt x="6040882" y="1077096"/>
                  <a:pt x="5844475" y="1273503"/>
                </a:cubicBezTo>
                <a:lnTo>
                  <a:pt x="4422017" y="2695961"/>
                </a:lnTo>
                <a:cubicBezTo>
                  <a:pt x="4225611" y="2892367"/>
                  <a:pt x="3907173" y="2892368"/>
                  <a:pt x="3710767" y="2695961"/>
                </a:cubicBezTo>
                <a:lnTo>
                  <a:pt x="2288308" y="1273503"/>
                </a:lnTo>
                <a:cubicBezTo>
                  <a:pt x="2091901" y="1077095"/>
                  <a:pt x="2091901" y="758658"/>
                  <a:pt x="2288308" y="562252"/>
                </a:cubicBezTo>
                <a:close/>
                <a:moveTo>
                  <a:pt x="0" y="0"/>
                </a:moveTo>
                <a:lnTo>
                  <a:pt x="1223004" y="0"/>
                </a:lnTo>
                <a:lnTo>
                  <a:pt x="1785255" y="562252"/>
                </a:lnTo>
                <a:cubicBezTo>
                  <a:pt x="1981663" y="758658"/>
                  <a:pt x="1981663" y="1077095"/>
                  <a:pt x="1785255" y="1273503"/>
                </a:cubicBezTo>
                <a:lnTo>
                  <a:pt x="362797" y="2695961"/>
                </a:lnTo>
                <a:cubicBezTo>
                  <a:pt x="264594" y="2794164"/>
                  <a:pt x="135883" y="2843266"/>
                  <a:pt x="7172" y="2843266"/>
                </a:cubicBezTo>
                <a:lnTo>
                  <a:pt x="0" y="2842578"/>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922979937"/>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BAP">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487243"/>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2Column-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Tree>
    <p:extLst>
      <p:ext uri="{BB962C8B-B14F-4D97-AF65-F5344CB8AC3E}">
        <p14:creationId xmlns:p14="http://schemas.microsoft.com/office/powerpoint/2010/main" val="530345082"/>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844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0DD965-5F97-42AD-90F9-28EAE1AA118B}" type="slidenum">
              <a:rPr lang="en-US" smtClean="0"/>
              <a:t>‹#›</a:t>
            </a:fld>
            <a:endParaRPr lang="en-US"/>
          </a:p>
        </p:txBody>
      </p:sp>
    </p:spTree>
    <p:extLst>
      <p:ext uri="{BB962C8B-B14F-4D97-AF65-F5344CB8AC3E}">
        <p14:creationId xmlns:p14="http://schemas.microsoft.com/office/powerpoint/2010/main" val="1249417403"/>
      </p:ext>
    </p:extLst>
  </p:cSld>
  <p:clrMapOvr>
    <a:masterClrMapping/>
  </p:clrMapOvr>
  <p:extLst>
    <p:ext uri="{DCECCB84-F9BA-43D5-87BE-67443E8EF086}">
      <p15:sldGuideLst xmlns:p15="http://schemas.microsoft.com/office/powerpoint/2012/main">
        <p15:guide id="1" orient="horz" pos="2448">
          <p15:clr>
            <a:srgbClr val="FBAE40"/>
          </p15:clr>
        </p15:guide>
        <p15:guide id="2" pos="316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5D9E2-A7ED-8888-85A6-50E88C87A6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CEB7238-81D6-0251-1FC1-64C65538D4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7F3D903-67EF-2A86-799A-84D41C3DD10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38E563E-70A1-7CB3-CA4F-70BFD23A75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E6E692-F793-990D-1D3A-C91893DB946C}"/>
              </a:ext>
            </a:extLst>
          </p:cNvPr>
          <p:cNvSpPr>
            <a:spLocks noGrp="1"/>
          </p:cNvSpPr>
          <p:nvPr>
            <p:ph type="sldNum" sz="quarter" idx="12"/>
          </p:nvPr>
        </p:nvSpPr>
        <p:spPr/>
        <p:txBody>
          <a:bodyPr/>
          <a:lstStyle/>
          <a:p>
            <a:fld id="{4AA53666-7E9B-478B-833F-5E875685AF90}" type="slidenum">
              <a:rPr lang="en-US" smtClean="0"/>
              <a:t>‹#›</a:t>
            </a:fld>
            <a:endParaRPr lang="en-US"/>
          </a:p>
        </p:txBody>
      </p:sp>
    </p:spTree>
    <p:extLst>
      <p:ext uri="{BB962C8B-B14F-4D97-AF65-F5344CB8AC3E}">
        <p14:creationId xmlns:p14="http://schemas.microsoft.com/office/powerpoint/2010/main" val="147328680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4EB173D-01E5-4F16-AAB0-C82FF468F868}"/>
              </a:ext>
            </a:extLst>
          </p:cNvPr>
          <p:cNvSpPr/>
          <p:nvPr/>
        </p:nvSpPr>
        <p:spPr>
          <a:xfrm>
            <a:off x="-24266" y="0"/>
            <a:ext cx="3774464" cy="6864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 name="Text Placeholder 3">
            <a:extLst>
              <a:ext uri="{FF2B5EF4-FFF2-40B4-BE49-F238E27FC236}">
                <a16:creationId xmlns:a16="http://schemas.microsoft.com/office/drawing/2014/main" id="{46E7A3CF-9BA4-4FD3-02F8-DD47DD3BCCC4}"/>
              </a:ext>
            </a:extLst>
          </p:cNvPr>
          <p:cNvSpPr>
            <a:spLocks noGrp="1"/>
          </p:cNvSpPr>
          <p:nvPr>
            <p:ph type="body" sz="quarter" idx="13" hasCustomPrompt="1"/>
          </p:nvPr>
        </p:nvSpPr>
        <p:spPr>
          <a:xfrm>
            <a:off x="405108" y="2775362"/>
            <a:ext cx="3017520" cy="769385"/>
          </a:xfrm>
          <a:prstGeom prst="rect">
            <a:avLst/>
          </a:prstGeom>
        </p:spPr>
        <p:txBody>
          <a:bodyPr lIns="0" tIns="0" rIns="0" bIns="0" anchor="t"/>
          <a:lstStyle>
            <a:lvl1pPr marL="0" indent="0">
              <a:buNone/>
              <a:defRPr sz="6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4" name="Text Placeholder 3">
            <a:extLst>
              <a:ext uri="{FF2B5EF4-FFF2-40B4-BE49-F238E27FC236}">
                <a16:creationId xmlns:a16="http://schemas.microsoft.com/office/drawing/2014/main" id="{C2BF1EC9-8E37-8545-4BF2-9CA5A5E05FAF}"/>
              </a:ext>
            </a:extLst>
          </p:cNvPr>
          <p:cNvSpPr>
            <a:spLocks noGrp="1"/>
          </p:cNvSpPr>
          <p:nvPr>
            <p:ph type="body" sz="quarter" idx="15" hasCustomPrompt="1"/>
          </p:nvPr>
        </p:nvSpPr>
        <p:spPr>
          <a:xfrm>
            <a:off x="405108" y="3579473"/>
            <a:ext cx="3017520" cy="331659"/>
          </a:xfrm>
          <a:prstGeom prst="rect">
            <a:avLst/>
          </a:prstGeom>
        </p:spPr>
        <p:txBody>
          <a:bodyPr lIns="0" tIns="0" rIns="0" bIns="0" anchor="t"/>
          <a:lstStyle>
            <a:lvl1pPr marL="0" indent="0">
              <a:buNone/>
              <a:defRPr sz="2000" b="1" i="0" spc="-50" baseline="0">
                <a:solidFill>
                  <a:schemeClr val="bg2"/>
                </a:solidFill>
                <a:latin typeface="Segoe UI Semibold" panose="020B0502040204020203" pitchFamily="34" charset="0"/>
                <a:cs typeface="Segoe UI Semibold" panose="020B0502040204020203" pitchFamily="34" charset="0"/>
              </a:defRPr>
            </a:lvl1pPr>
          </a:lstStyle>
          <a:p>
            <a:pPr lvl="0"/>
            <a:r>
              <a:rPr lang="en-US"/>
              <a:t>Sub-header</a:t>
            </a:r>
          </a:p>
        </p:txBody>
      </p:sp>
    </p:spTree>
    <p:extLst>
      <p:ext uri="{BB962C8B-B14F-4D97-AF65-F5344CB8AC3E}">
        <p14:creationId xmlns:p14="http://schemas.microsoft.com/office/powerpoint/2010/main" val="24639314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1000" y="457200"/>
            <a:ext cx="11430000" cy="553998"/>
          </a:xfrm>
        </p:spPr>
        <p:txBody>
          <a:bodyPr anchor="t"/>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a:cxnSpLocks/>
          </p:cNvCxnSpPr>
          <p:nvPr/>
        </p:nvCxnSpPr>
        <p:spPr>
          <a:xfrm>
            <a:off x="381000" y="1143000"/>
            <a:ext cx="11430000" cy="0"/>
          </a:xfrm>
          <a:prstGeom prst="line">
            <a:avLst/>
          </a:prstGeom>
          <a:ln w="25400" cap="sq">
            <a:gradFill>
              <a:gsLst>
                <a:gs pos="60000">
                  <a:srgbClr val="61C5BE"/>
                </a:gs>
                <a:gs pos="29000">
                  <a:srgbClr val="FFF200"/>
                </a:gs>
                <a:gs pos="100000">
                  <a:schemeClr val="accent5"/>
                </a:gs>
              </a:gsLst>
              <a:lin ang="0" scaled="0"/>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381000" y="1435100"/>
            <a:ext cx="1143000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Freeform: Shape 8">
            <a:extLst>
              <a:ext uri="{FF2B5EF4-FFF2-40B4-BE49-F238E27FC236}">
                <a16:creationId xmlns:a16="http://schemas.microsoft.com/office/drawing/2014/main" id="{42998CE9-F833-44B6-B17D-26B5AA2294C3}"/>
              </a:ext>
              <a:ext uri="{C183D7F6-B498-43B3-948B-1728B52AA6E4}">
                <adec:decorative xmlns:adec="http://schemas.microsoft.com/office/drawing/2017/decorative" val="1"/>
              </a:ext>
            </a:extLst>
          </p:cNvPr>
          <p:cNvSpPr/>
          <p:nvPr/>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42927715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2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553998"/>
          </a:xfrm>
        </p:spPr>
        <p:txBody>
          <a:bodyPr/>
          <a:lstStyle>
            <a:lvl1pPr>
              <a:defRPr sz="3600" spc="-150">
                <a:solidFill>
                  <a:schemeClr val="bg1"/>
                </a:solidFill>
              </a:defRPr>
            </a:lvl1pPr>
          </a:lstStyle>
          <a:p>
            <a:r>
              <a:rPr lang="en-US"/>
              <a:t>Click to edit Master title style</a:t>
            </a:r>
          </a:p>
        </p:txBody>
      </p:sp>
    </p:spTree>
    <p:extLst>
      <p:ext uri="{BB962C8B-B14F-4D97-AF65-F5344CB8AC3E}">
        <p14:creationId xmlns:p14="http://schemas.microsoft.com/office/powerpoint/2010/main" val="2894101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099"/>
            <a:ext cx="11018838" cy="1546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p:nvSpPr>
        <p:spPr>
          <a:xfrm>
            <a:off x="12355722" y="-203943"/>
            <a:ext cx="553037" cy="147605"/>
          </a:xfrm>
          <a:prstGeom prst="rect">
            <a:avLst/>
          </a:prstGeom>
          <a:noFill/>
        </p:spPr>
        <p:txBody>
          <a:bodyPr wrap="none" lIns="0" tIns="0" rIns="0" bIns="0" rtlCol="0">
            <a:spAutoFit/>
          </a:bodyPr>
          <a:lstStyle/>
          <a:p>
            <a:pPr algn="l"/>
            <a:r>
              <a:rPr lang="en-US" sz="959">
                <a:solidFill>
                  <a:srgbClr val="A3A3A3"/>
                </a:solidFill>
              </a:rPr>
              <a:t>ELT layout</a:t>
            </a:r>
          </a:p>
        </p:txBody>
      </p:sp>
    </p:spTree>
    <p:extLst>
      <p:ext uri="{BB962C8B-B14F-4D97-AF65-F5344CB8AC3E}">
        <p14:creationId xmlns:p14="http://schemas.microsoft.com/office/powerpoint/2010/main" val="3509910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Header+Line-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
        <p:nvSpPr>
          <p:cNvPr id="2" name="Text Placeholder 3">
            <a:extLst>
              <a:ext uri="{FF2B5EF4-FFF2-40B4-BE49-F238E27FC236}">
                <a16:creationId xmlns:a16="http://schemas.microsoft.com/office/drawing/2014/main" id="{B7A9713E-A2D4-AA82-9830-9D62EC5F1F0F}"/>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cxnSp>
        <p:nvCxnSpPr>
          <p:cNvPr id="3" name="Straight Connector 2">
            <a:extLst>
              <a:ext uri="{FF2B5EF4-FFF2-40B4-BE49-F238E27FC236}">
                <a16:creationId xmlns:a16="http://schemas.microsoft.com/office/drawing/2014/main" id="{7F5A1CEA-9FEA-AE81-4955-B9620C9F1AE7}"/>
              </a:ext>
            </a:extLst>
          </p:cNvPr>
          <p:cNvCxnSpPr>
            <a:cxnSpLocks/>
          </p:cNvCxnSpPr>
          <p:nvPr/>
        </p:nvCxnSpPr>
        <p:spPr>
          <a:xfrm>
            <a:off x="762000" y="1447540"/>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23410787"/>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76861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19100" y="1409701"/>
            <a:ext cx="11353802" cy="4889500"/>
          </a:xfrm>
        </p:spPr>
        <p:txBody>
          <a:bodyPr wrap="square">
            <a:noAutofit/>
          </a:bodyPr>
          <a:lstStyle>
            <a:lvl1pPr marL="200025" marR="0" indent="-200025"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2000" kern="1200" spc="0" baseline="0" dirty="0">
                <a:solidFill>
                  <a:schemeClr val="tx1"/>
                </a:solidFill>
                <a:latin typeface="+mn-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800" kern="1200" spc="0" baseline="0" dirty="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600" kern="1200" spc="0" baseline="0" dirty="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400" kern="1200" spc="0" baseline="0" dirty="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200" kern="1200" spc="0" baseline="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B3F95BC-6D79-4732-A402-F3CB3CBCE5E9}"/>
              </a:ext>
            </a:extLst>
          </p:cNvPr>
          <p:cNvSpPr>
            <a:spLocks noGrp="1"/>
          </p:cNvSpPr>
          <p:nvPr>
            <p:ph type="title"/>
          </p:nvPr>
        </p:nvSpPr>
        <p:spPr>
          <a:xfrm>
            <a:off x="419099" y="417512"/>
            <a:ext cx="11353802" cy="788987"/>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5198836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15332418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1"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599"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2" y="-203944"/>
            <a:ext cx="57723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300723"/>
      </p:ext>
    </p:extLst>
  </p:cSld>
  <p:clrMapOvr>
    <a:masterClrMapping/>
  </p:clrMapOvr>
  <p:transition>
    <p:fade/>
  </p:transition>
  <p:extLst>
    <p:ext uri="{DCECCB84-F9BA-43D5-87BE-67443E8EF086}">
      <p15:sldGuideLst xmlns:p15="http://schemas.microsoft.com/office/powerpoint/2012/main">
        <p15:guide id="7" pos="1788">
          <p15:clr>
            <a:srgbClr val="5ACBF0"/>
          </p15:clr>
        </p15:guide>
        <p15:guide id="8" orient="horz" pos="1080">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32451992-2A6E-644E-9F12-ACF9234F6F85}"/>
              </a:ext>
            </a:extLst>
          </p:cNvPr>
          <p:cNvSpPr>
            <a:spLocks noGrp="1"/>
          </p:cNvSpPr>
          <p:nvPr>
            <p:ph type="pic" sz="quarter" idx="10"/>
          </p:nvPr>
        </p:nvSpPr>
        <p:spPr>
          <a:xfrm>
            <a:off x="584201" y="2734747"/>
            <a:ext cx="3502025" cy="430901"/>
          </a:xfrm>
        </p:spPr>
        <p:txBody>
          <a:bodyPr anchor="ctr"/>
          <a:lstStyle>
            <a:lvl1pPr marL="0" indent="0" algn="ctr">
              <a:buNone/>
              <a:defRPr/>
            </a:lvl1pPr>
          </a:lstStyle>
          <a:p>
            <a:r>
              <a:rPr lang="en-US"/>
              <a:t>Click icon to add picture</a:t>
            </a:r>
          </a:p>
        </p:txBody>
      </p:sp>
      <p:sp>
        <p:nvSpPr>
          <p:cNvPr id="17" name="Picture Placeholder 15">
            <a:extLst>
              <a:ext uri="{FF2B5EF4-FFF2-40B4-BE49-F238E27FC236}">
                <a16:creationId xmlns:a16="http://schemas.microsoft.com/office/drawing/2014/main" id="{36A8BE2B-2C50-7B4B-84E3-20B23B74348E}"/>
              </a:ext>
            </a:extLst>
          </p:cNvPr>
          <p:cNvSpPr>
            <a:spLocks noGrp="1"/>
          </p:cNvSpPr>
          <p:nvPr>
            <p:ph type="pic" sz="quarter" idx="11"/>
          </p:nvPr>
        </p:nvSpPr>
        <p:spPr>
          <a:xfrm>
            <a:off x="4345324" y="2734747"/>
            <a:ext cx="3502025" cy="430901"/>
          </a:xfrm>
        </p:spPr>
        <p:txBody>
          <a:bodyPr anchor="ctr"/>
          <a:lstStyle>
            <a:lvl1pPr marL="0" indent="0" algn="ctr">
              <a:buNone/>
              <a:defRPr/>
            </a:lvl1pPr>
          </a:lstStyle>
          <a:p>
            <a:r>
              <a:rPr lang="en-US"/>
              <a:t>Click icon to add picture</a:t>
            </a:r>
          </a:p>
        </p:txBody>
      </p:sp>
      <p:sp>
        <p:nvSpPr>
          <p:cNvPr id="18" name="Picture Placeholder 15">
            <a:extLst>
              <a:ext uri="{FF2B5EF4-FFF2-40B4-BE49-F238E27FC236}">
                <a16:creationId xmlns:a16="http://schemas.microsoft.com/office/drawing/2014/main" id="{27636043-2A16-C044-AE37-E8D64413F5C7}"/>
              </a:ext>
            </a:extLst>
          </p:cNvPr>
          <p:cNvSpPr>
            <a:spLocks noGrp="1"/>
          </p:cNvSpPr>
          <p:nvPr>
            <p:ph type="pic" sz="quarter" idx="12"/>
          </p:nvPr>
        </p:nvSpPr>
        <p:spPr>
          <a:xfrm>
            <a:off x="8104759" y="2734747"/>
            <a:ext cx="3502025" cy="430901"/>
          </a:xfrm>
        </p:spPr>
        <p:txBody>
          <a:bodyPr anchor="ctr"/>
          <a:lstStyle>
            <a:lvl1pPr marL="0" indent="0" algn="ctr">
              <a:buNone/>
              <a:defRPr/>
            </a:lvl1pPr>
          </a:lstStyle>
          <a:p>
            <a:r>
              <a:rPr lang="en-US"/>
              <a:t>Click icon to add picture</a:t>
            </a:r>
          </a:p>
        </p:txBody>
      </p:sp>
      <p:sp>
        <p:nvSpPr>
          <p:cNvPr id="24" name="Text Placeholder 23">
            <a:extLst>
              <a:ext uri="{FF2B5EF4-FFF2-40B4-BE49-F238E27FC236}">
                <a16:creationId xmlns:a16="http://schemas.microsoft.com/office/drawing/2014/main" id="{9B35C706-2EB0-3A4A-B659-D8790BF3D254}"/>
              </a:ext>
            </a:extLst>
          </p:cNvPr>
          <p:cNvSpPr>
            <a:spLocks noGrp="1"/>
          </p:cNvSpPr>
          <p:nvPr>
            <p:ph type="body" sz="quarter" idx="13" hasCustomPrompt="1"/>
          </p:nvPr>
        </p:nvSpPr>
        <p:spPr>
          <a:xfrm>
            <a:off x="885825" y="4659312"/>
            <a:ext cx="2989263" cy="369332"/>
          </a:xfrm>
        </p:spPr>
        <p:txBody>
          <a:bodyPr/>
          <a:lstStyle>
            <a:lvl1pPr marL="0" indent="0" algn="ctr">
              <a:buNone/>
              <a:defRPr sz="2400">
                <a:solidFill>
                  <a:schemeClr val="tx1"/>
                </a:solidFill>
                <a:latin typeface="+mj-lt"/>
              </a:defRPr>
            </a:lvl1pPr>
            <a:lvl2pPr>
              <a:defRPr sz="2400"/>
            </a:lvl2pPr>
            <a:lvl3pPr>
              <a:defRPr sz="2400"/>
            </a:lvl3pPr>
            <a:lvl4pPr>
              <a:defRPr sz="2400"/>
            </a:lvl4pPr>
            <a:lvl5pPr>
              <a:defRPr sz="2400"/>
            </a:lvl5pPr>
          </a:lstStyle>
          <a:p>
            <a:pPr lvl="0"/>
            <a:r>
              <a:rPr lang="en-US"/>
              <a:t>Placeholder text</a:t>
            </a:r>
          </a:p>
        </p:txBody>
      </p:sp>
      <p:sp>
        <p:nvSpPr>
          <p:cNvPr id="25" name="Text Placeholder 23">
            <a:extLst>
              <a:ext uri="{FF2B5EF4-FFF2-40B4-BE49-F238E27FC236}">
                <a16:creationId xmlns:a16="http://schemas.microsoft.com/office/drawing/2014/main" id="{C3FCA34E-666A-B141-8D17-DC29750121DA}"/>
              </a:ext>
            </a:extLst>
          </p:cNvPr>
          <p:cNvSpPr>
            <a:spLocks noGrp="1"/>
          </p:cNvSpPr>
          <p:nvPr>
            <p:ph type="body" sz="quarter" idx="14" hasCustomPrompt="1"/>
          </p:nvPr>
        </p:nvSpPr>
        <p:spPr>
          <a:xfrm>
            <a:off x="4601367" y="4686222"/>
            <a:ext cx="2989263" cy="369332"/>
          </a:xfrm>
        </p:spPr>
        <p:txBody>
          <a:bodyPr/>
          <a:lstStyle>
            <a:lvl1pPr marL="0" indent="0" algn="ctr">
              <a:buNone/>
              <a:defRPr sz="2400">
                <a:solidFill>
                  <a:schemeClr val="tx1"/>
                </a:solidFill>
                <a:latin typeface="+mj-lt"/>
              </a:defRPr>
            </a:lvl1pPr>
            <a:lvl2pPr>
              <a:defRPr sz="2400"/>
            </a:lvl2pPr>
            <a:lvl3pPr>
              <a:defRPr sz="2400"/>
            </a:lvl3pPr>
            <a:lvl4pPr>
              <a:defRPr sz="2400"/>
            </a:lvl4pPr>
            <a:lvl5pPr>
              <a:defRPr sz="2400"/>
            </a:lvl5pPr>
          </a:lstStyle>
          <a:p>
            <a:pPr lvl="0"/>
            <a:r>
              <a:rPr lang="en-US"/>
              <a:t>Placeholder text</a:t>
            </a:r>
          </a:p>
        </p:txBody>
      </p:sp>
      <p:sp>
        <p:nvSpPr>
          <p:cNvPr id="26" name="Text Placeholder 23">
            <a:extLst>
              <a:ext uri="{FF2B5EF4-FFF2-40B4-BE49-F238E27FC236}">
                <a16:creationId xmlns:a16="http://schemas.microsoft.com/office/drawing/2014/main" id="{2C00CDAE-85DF-104A-9A86-9036EDC939D2}"/>
              </a:ext>
            </a:extLst>
          </p:cNvPr>
          <p:cNvSpPr>
            <a:spLocks noGrp="1"/>
          </p:cNvSpPr>
          <p:nvPr>
            <p:ph type="body" sz="quarter" idx="15" hasCustomPrompt="1"/>
          </p:nvPr>
        </p:nvSpPr>
        <p:spPr>
          <a:xfrm>
            <a:off x="8360802" y="4632185"/>
            <a:ext cx="2989263" cy="369332"/>
          </a:xfrm>
        </p:spPr>
        <p:txBody>
          <a:bodyPr/>
          <a:lstStyle>
            <a:lvl1pPr marL="0" indent="0" algn="ctr">
              <a:buNone/>
              <a:defRPr sz="2400">
                <a:solidFill>
                  <a:schemeClr val="tx1"/>
                </a:solidFill>
                <a:latin typeface="+mj-lt"/>
              </a:defRPr>
            </a:lvl1pPr>
            <a:lvl2pPr>
              <a:defRPr sz="2400"/>
            </a:lvl2pPr>
            <a:lvl3pPr>
              <a:defRPr sz="2400"/>
            </a:lvl3pPr>
            <a:lvl4pPr>
              <a:defRPr sz="2400"/>
            </a:lvl4pPr>
            <a:lvl5pPr>
              <a:defRPr sz="2400"/>
            </a:lvl5pPr>
          </a:lstStyle>
          <a:p>
            <a:pPr lvl="0"/>
            <a:r>
              <a:rPr lang="en-US"/>
              <a:t>Placeholder text</a:t>
            </a:r>
          </a:p>
        </p:txBody>
      </p:sp>
    </p:spTree>
    <p:extLst>
      <p:ext uri="{BB962C8B-B14F-4D97-AF65-F5344CB8AC3E}">
        <p14:creationId xmlns:p14="http://schemas.microsoft.com/office/powerpoint/2010/main" val="10502318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8048" y="589919"/>
            <a:ext cx="11055906" cy="488866"/>
          </a:xfrm>
        </p:spPr>
        <p:txBody>
          <a:bodyPr wrap="square" lIns="0" tIns="0" rIns="0" bIns="0">
            <a:spAutoFit/>
          </a:bodyPr>
          <a:lstStyle>
            <a:lvl1pPr>
              <a:lnSpc>
                <a:spcPct val="90000"/>
              </a:lnSpc>
              <a:defRPr sz="3528" strike="noStrike">
                <a:solidFill>
                  <a:schemeClr val="tx1"/>
                </a:solidFill>
              </a:defRPr>
            </a:lvl1pPr>
          </a:lstStyle>
          <a:p>
            <a:r>
              <a:rPr lang="en-US"/>
              <a:t>Title</a:t>
            </a:r>
          </a:p>
        </p:txBody>
      </p:sp>
    </p:spTree>
    <p:extLst>
      <p:ext uri="{BB962C8B-B14F-4D97-AF65-F5344CB8AC3E}">
        <p14:creationId xmlns:p14="http://schemas.microsoft.com/office/powerpoint/2010/main" val="43979420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Tree>
    <p:extLst>
      <p:ext uri="{BB962C8B-B14F-4D97-AF65-F5344CB8AC3E}">
        <p14:creationId xmlns:p14="http://schemas.microsoft.com/office/powerpoint/2010/main" val="56486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91336"/>
            <a:ext cx="9144000" cy="443070"/>
          </a:xfrm>
          <a:noFill/>
        </p:spPr>
        <p:txBody>
          <a:bodyPr lIns="0" tIns="0" rIns="0" bIns="0" anchor="b" anchorCtr="0">
            <a:spAutoFit/>
          </a:bodyPr>
          <a:lstStyle>
            <a:lvl1pPr algn="l" defTabSz="828948" rtl="0" eaLnBrk="1" latinLnBrk="0" hangingPunct="1">
              <a:lnSpc>
                <a:spcPct val="90000"/>
              </a:lnSpc>
              <a:spcBef>
                <a:spcPct val="0"/>
              </a:spcBef>
              <a:buNone/>
              <a:defRPr lang="en-US" sz="3199" b="0" kern="1200" cap="none" spc="-44"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C8461C1E-D086-7651-80CC-0D3EEFA6E63B}"/>
              </a:ext>
            </a:extLst>
          </p:cNvPr>
          <p:cNvPicPr>
            <a:picLocks noChangeAspect="1"/>
          </p:cNvPicPr>
          <p:nvPr/>
        </p:nvPicPr>
        <p:blipFill>
          <a:blip r:embed="rId2" cstate="print">
            <a:alphaModFix amt="20000"/>
            <a:extLst>
              <a:ext uri="{28A0092B-C50C-407E-A947-70E740481C1C}">
                <a14:useLocalDpi xmlns:a14="http://schemas.microsoft.com/office/drawing/2010/main" val="0"/>
              </a:ext>
            </a:extLst>
          </a:blip>
          <a:srcRect/>
          <a:stretch/>
        </p:blipFill>
        <p:spPr>
          <a:xfrm>
            <a:off x="8078681" y="2"/>
            <a:ext cx="4102718" cy="6858001"/>
          </a:xfrm>
          <a:prstGeom prst="rect">
            <a:avLst/>
          </a:prstGeom>
        </p:spPr>
      </p:pic>
    </p:spTree>
    <p:extLst>
      <p:ext uri="{BB962C8B-B14F-4D97-AF65-F5344CB8AC3E}">
        <p14:creationId xmlns:p14="http://schemas.microsoft.com/office/powerpoint/2010/main" val="137866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2423">
          <p15:clr>
            <a:srgbClr val="5ACBF0"/>
          </p15:clr>
        </p15:guide>
        <p15:guide id="3" orient="horz" pos="95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13664" y="1440928"/>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DCC3B81D-3606-48B9-28F5-6A377A74C9F6}"/>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endParaRPr lang="en-US">
              <a:solidFill>
                <a:srgbClr val="FFFFFF">
                  <a:tint val="75000"/>
                </a:srgbClr>
              </a:solidFill>
            </a:endParaRPr>
          </a:p>
        </p:txBody>
      </p:sp>
      <p:sp>
        <p:nvSpPr>
          <p:cNvPr id="5" name="Slide Number Placeholder 5">
            <a:extLst>
              <a:ext uri="{FF2B5EF4-FFF2-40B4-BE49-F238E27FC236}">
                <a16:creationId xmlns:a16="http://schemas.microsoft.com/office/drawing/2014/main" id="{E226ED35-9B6B-877C-1AD4-5DB0DBC6DABD}"/>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60603862"/>
      </p:ext>
    </p:extLst>
  </p:cSld>
  <p:clrMapOvr>
    <a:masterClrMapping/>
  </p:clrMapOvr>
  <p:transition>
    <p:fade/>
  </p:transition>
  <p:extLst>
    <p:ext uri="{DCECCB84-F9BA-43D5-87BE-67443E8EF086}">
      <p15:sldGuideLst xmlns:p15="http://schemas.microsoft.com/office/powerpoint/2012/main">
        <p15:guide id="2" orient="horz" pos="636">
          <p15:clr>
            <a:srgbClr val="5ACBF0"/>
          </p15:clr>
        </p15:guide>
        <p15:guide id="3" orient="horz" pos="144">
          <p15:clr>
            <a:srgbClr val="5ACBF0"/>
          </p15:clr>
        </p15:guide>
        <p15:guide id="5" orient="horz" pos="452">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ection Title Accent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F63FD9E-EF7E-2F42-BE08-AD8AEE57B70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315968" y="1"/>
            <a:ext cx="7876033" cy="6858000"/>
          </a:xfrm>
          <a:prstGeom prst="rect">
            <a:avLst/>
          </a:prstGeom>
        </p:spPr>
      </p:pic>
      <p:sp>
        <p:nvSpPr>
          <p:cNvPr id="2" name="Title 1">
            <a:extLst>
              <a:ext uri="{FF2B5EF4-FFF2-40B4-BE49-F238E27FC236}">
                <a16:creationId xmlns:a16="http://schemas.microsoft.com/office/drawing/2014/main" id="{BAA41A47-C03B-A94B-9452-C264A5BEFF30}"/>
              </a:ext>
            </a:extLst>
          </p:cNvPr>
          <p:cNvSpPr>
            <a:spLocks noGrp="1"/>
          </p:cNvSpPr>
          <p:nvPr>
            <p:ph type="title"/>
          </p:nvPr>
        </p:nvSpPr>
        <p:spPr>
          <a:xfrm>
            <a:off x="839788" y="457200"/>
            <a:ext cx="5926772" cy="1883664"/>
          </a:xfrm>
        </p:spPr>
        <p:txBody>
          <a:bodyPr anchor="b">
            <a:normAutofit/>
          </a:bodyPr>
          <a:lstStyle>
            <a:lvl1pPr>
              <a:defRPr sz="4400"/>
            </a:lvl1pPr>
          </a:lstStyle>
          <a:p>
            <a:r>
              <a:rPr lang="en-US"/>
              <a:t>Click to edit Master title style</a:t>
            </a:r>
          </a:p>
        </p:txBody>
      </p:sp>
      <p:pic>
        <p:nvPicPr>
          <p:cNvPr id="8" name="Picture 7">
            <a:extLst>
              <a:ext uri="{FF2B5EF4-FFF2-40B4-BE49-F238E27FC236}">
                <a16:creationId xmlns:a16="http://schemas.microsoft.com/office/drawing/2014/main" id="{BC04C5A1-2D7B-914F-96C1-8C14BFFC6D0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9"/>
          <a:stretch/>
        </p:blipFill>
        <p:spPr>
          <a:xfrm>
            <a:off x="882" y="6040438"/>
            <a:ext cx="12191118" cy="817562"/>
          </a:xfrm>
          <a:prstGeom prst="rect">
            <a:avLst/>
          </a:prstGeom>
        </p:spPr>
      </p:pic>
      <p:pic>
        <p:nvPicPr>
          <p:cNvPr id="9" name="Picture 8">
            <a:extLst>
              <a:ext uri="{FF2B5EF4-FFF2-40B4-BE49-F238E27FC236}">
                <a16:creationId xmlns:a16="http://schemas.microsoft.com/office/drawing/2014/main" id="{A20493AA-FD75-304E-BF6B-8C91FE9C983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67812" y="6217919"/>
            <a:ext cx="477593" cy="477593"/>
          </a:xfrm>
          <a:prstGeom prst="rect">
            <a:avLst/>
          </a:prstGeom>
        </p:spPr>
      </p:pic>
      <p:pic>
        <p:nvPicPr>
          <p:cNvPr id="10" name="Picture 9">
            <a:extLst>
              <a:ext uri="{FF2B5EF4-FFF2-40B4-BE49-F238E27FC236}">
                <a16:creationId xmlns:a16="http://schemas.microsoft.com/office/drawing/2014/main" id="{43EA9885-AFA0-5148-9548-B90FBFA3143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867896" y="6345054"/>
            <a:ext cx="971807" cy="208330"/>
          </a:xfrm>
          <a:prstGeom prst="rect">
            <a:avLst/>
          </a:prstGeom>
        </p:spPr>
      </p:pic>
    </p:spTree>
    <p:extLst>
      <p:ext uri="{BB962C8B-B14F-4D97-AF65-F5344CB8AC3E}">
        <p14:creationId xmlns:p14="http://schemas.microsoft.com/office/powerpoint/2010/main" val="19522074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Viva Sale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5637B-03DE-4F28-9C6E-0053D028E331}"/>
              </a:ext>
            </a:extLst>
          </p:cNvPr>
          <p:cNvSpPr>
            <a:spLocks noGrp="1"/>
          </p:cNvSpPr>
          <p:nvPr>
            <p:ph type="title"/>
          </p:nvPr>
        </p:nvSpPr>
        <p:spPr>
          <a:xfrm>
            <a:off x="879231" y="213757"/>
            <a:ext cx="11141006" cy="66975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FF3A532-5CE1-4033-A8AC-3B7A2F354FD4}"/>
              </a:ext>
            </a:extLst>
          </p:cNvPr>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3353AA8-77B8-C324-B62A-FBC347F109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285086"/>
            <a:ext cx="528378" cy="528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14369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365 Sale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5637B-03DE-4F28-9C6E-0053D028E331}"/>
              </a:ext>
            </a:extLst>
          </p:cNvPr>
          <p:cNvSpPr>
            <a:spLocks noGrp="1"/>
          </p:cNvSpPr>
          <p:nvPr>
            <p:ph type="title"/>
          </p:nvPr>
        </p:nvSpPr>
        <p:spPr>
          <a:xfrm>
            <a:off x="879231" y="213757"/>
            <a:ext cx="11141006" cy="66975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FF3A532-5CE1-4033-A8AC-3B7A2F354FD4}"/>
              </a:ext>
            </a:extLst>
          </p:cNvPr>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Icon&#10;&#10;Description automatically generated with low confidence">
            <a:extLst>
              <a:ext uri="{FF2B5EF4-FFF2-40B4-BE49-F238E27FC236}">
                <a16:creationId xmlns:a16="http://schemas.microsoft.com/office/drawing/2014/main" id="{B18BFB23-5757-B04F-4B54-1BE218F8AF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285086"/>
            <a:ext cx="528378" cy="528378"/>
          </a:xfrm>
          <a:prstGeom prst="rect">
            <a:avLst/>
          </a:prstGeom>
        </p:spPr>
      </p:pic>
    </p:spTree>
    <p:extLst>
      <p:ext uri="{BB962C8B-B14F-4D97-AF65-F5344CB8AC3E}">
        <p14:creationId xmlns:p14="http://schemas.microsoft.com/office/powerpoint/2010/main" val="192315514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XR - Section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20201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CBAE46-BB76-A006-2DCD-EC9B968D03F4}"/>
              </a:ext>
            </a:extLst>
          </p:cNvPr>
          <p:cNvSpPr>
            <a:spLocks noGrp="1"/>
          </p:cNvSpPr>
          <p:nvPr>
            <p:ph type="title" idx="4294967295"/>
          </p:nvPr>
        </p:nvSpPr>
        <p:spPr>
          <a:xfrm>
            <a:off x="586581" y="401638"/>
            <a:ext cx="11018838" cy="492125"/>
          </a:xfrm>
          <a:prstGeom prst="rect">
            <a:avLst/>
          </a:prstGeom>
        </p:spPr>
        <p:txBody>
          <a:bodyPr>
            <a:noAutofit/>
          </a:bodyPr>
          <a:lstStyle>
            <a:lvl1pPr>
              <a:defRPr sz="3200">
                <a:latin typeface="Segoe UI Semibold" panose="020B0702040204020203" pitchFamily="34" charset="0"/>
                <a:cs typeface="Segoe UI Semibold" panose="020B0702040204020203" pitchFamily="34" charset="0"/>
              </a:defRPr>
            </a:lvl1pPr>
          </a:lstStyle>
          <a:p>
            <a:r>
              <a:rPr lang="en-US" sz="3200"/>
              <a:t>Click to edit Master title style</a:t>
            </a:r>
          </a:p>
        </p:txBody>
      </p:sp>
      <p:sp>
        <p:nvSpPr>
          <p:cNvPr id="4" name="Content Placeholder 2">
            <a:extLst>
              <a:ext uri="{FF2B5EF4-FFF2-40B4-BE49-F238E27FC236}">
                <a16:creationId xmlns:a16="http://schemas.microsoft.com/office/drawing/2014/main" id="{D8BB5B7B-7177-3312-EA43-9F5543B932F4}"/>
              </a:ext>
            </a:extLst>
          </p:cNvPr>
          <p:cNvSpPr>
            <a:spLocks noGrp="1"/>
          </p:cNvSpPr>
          <p:nvPr>
            <p:ph sz="quarter" idx="4294967295"/>
          </p:nvPr>
        </p:nvSpPr>
        <p:spPr>
          <a:xfrm>
            <a:off x="590967" y="988987"/>
            <a:ext cx="9812338" cy="301993"/>
          </a:xfrm>
          <a:prstGeom prst="rect">
            <a:avLst/>
          </a:prstGeom>
        </p:spPr>
        <p:txBody>
          <a:bodyPr/>
          <a:lstStyle>
            <a:lvl1pPr>
              <a:defRPr>
                <a:latin typeface="Segoe UI" panose="020B0502040204020203" pitchFamily="34" charset="0"/>
                <a:cs typeface="Segoe UI" panose="020B0502040204020203" pitchFamily="34" charset="0"/>
              </a:defRPr>
            </a:lvl1pPr>
          </a:lstStyle>
          <a:p>
            <a:pPr marL="0" lvl="0" indent="0">
              <a:buNone/>
            </a:pPr>
            <a:r>
              <a:rPr lang="en-US" sz="1800">
                <a:solidFill>
                  <a:srgbClr val="28956E"/>
                </a:solidFill>
              </a:rPr>
              <a:t>Click to edit Master text styles</a:t>
            </a:r>
          </a:p>
        </p:txBody>
      </p:sp>
    </p:spTree>
    <p:extLst>
      <p:ext uri="{BB962C8B-B14F-4D97-AF65-F5344CB8AC3E}">
        <p14:creationId xmlns:p14="http://schemas.microsoft.com/office/powerpoint/2010/main" val="92904714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8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E7E9D21-F062-42F7-A304-6F70A85BCA68}"/>
              </a:ext>
            </a:extLst>
          </p:cNvPr>
          <p:cNvSpPr>
            <a:spLocks noGrp="1"/>
          </p:cNvSpPr>
          <p:nvPr>
            <p:ph type="pic" sz="quarter" idx="12"/>
          </p:nvPr>
        </p:nvSpPr>
        <p:spPr>
          <a:xfrm>
            <a:off x="0" y="0"/>
            <a:ext cx="12192000" cy="6858000"/>
          </a:xfrm>
        </p:spPr>
        <p:txBody>
          <a:bodyPr/>
          <a:lstStyle/>
          <a:p>
            <a:r>
              <a:rPr lang="en-US"/>
              <a:t>Click icon to add picture</a:t>
            </a: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28099221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075126"/>
            <a:ext cx="11018520" cy="329994"/>
          </a:xfrm>
        </p:spPr>
        <p:txBody>
          <a:bodyPr wrap="square">
            <a:noAutofit/>
          </a:bodyPr>
          <a:lstStyle>
            <a:lvl1pPr marL="0" indent="0">
              <a:buNone/>
              <a:defRPr sz="160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612449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7600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6445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417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304131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54218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DFC294-8A26-120C-670A-C3BCB5E87EDD}"/>
              </a:ext>
            </a:extLst>
          </p:cNvPr>
          <p:cNvPicPr>
            <a:picLocks noChangeAspect="1"/>
          </p:cNvPicPr>
          <p:nvPr/>
        </p:nvPicPr>
        <p:blipFill>
          <a:blip r:embed="rId2"/>
          <a:srcRect l="1662" r="42350" b="44012"/>
          <a:stretch/>
        </p:blipFill>
        <p:spPr>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793622C4-2B8D-1043-10DA-33B5AD98158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918224"/>
            <a:ext cx="5577840" cy="615553"/>
          </a:xfrm>
          <a:noFill/>
        </p:spPr>
        <p:txBody>
          <a:bodyPr vert="horz" wrap="square" lIns="0" tIns="0" rIns="0" bIns="0" rtlCol="0" anchor="b" anchorCtr="0">
            <a:spAutoFit/>
          </a:bodyPr>
          <a:lstStyle>
            <a:lvl1pPr>
              <a:defRPr lang="en-US" sz="4000" dirty="0">
                <a:solidFill>
                  <a:srgbClr val="FFF0C9"/>
                </a:solidFill>
              </a:defRPr>
            </a:lvl1pPr>
          </a:lstStyle>
          <a:p>
            <a:pPr lvl="0"/>
            <a:r>
              <a:rPr lang="en-US"/>
              <a:t>Text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41669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03246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48">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51313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2505572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9776681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86469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588264" y="3152001"/>
            <a:ext cx="2285566" cy="553998"/>
          </a:xfrm>
        </p:spPr>
        <p:txBody>
          <a:bodyPr anchor="ctr"/>
          <a:lstStyle>
            <a:lvl1pPr>
              <a:defRPr/>
            </a:lvl1pPr>
          </a:lstStyle>
          <a:p>
            <a:r>
              <a:rPr lang="en-US"/>
              <a:t>Agenda</a:t>
            </a:r>
          </a:p>
        </p:txBody>
      </p:sp>
      <p:sp>
        <p:nvSpPr>
          <p:cNvPr id="49" name="Rectangle: Single Corner Rounded 48">
            <a:extLst>
              <a:ext uri="{FF2B5EF4-FFF2-40B4-BE49-F238E27FC236}">
                <a16:creationId xmlns:a16="http://schemas.microsoft.com/office/drawing/2014/main" id="{2BC64A4E-937B-8B4B-41F3-6DAE5702A0D8}"/>
              </a:ext>
            </a:extLst>
          </p:cNvPr>
          <p:cNvSpPr/>
          <p:nvPr userDrawn="1"/>
        </p:nvSpPr>
        <p:spPr bwMode="auto">
          <a:xfrm flipH="1" flipV="1">
            <a:off x="4065588" y="-3"/>
            <a:ext cx="8126412" cy="6289715"/>
          </a:xfrm>
          <a:custGeom>
            <a:avLst/>
            <a:gdLst>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 name="connsiteX4" fmla="*/ 0 w 8126412"/>
              <a:gd name="connsiteY4" fmla="*/ 6289715 h 6289715"/>
              <a:gd name="connsiteX5" fmla="*/ 0 w 8126412"/>
              <a:gd name="connsiteY5" fmla="*/ 0 h 6289715"/>
              <a:gd name="connsiteX0" fmla="*/ 0 w 8126412"/>
              <a:gd name="connsiteY0" fmla="*/ 6289715 h 6381155"/>
              <a:gd name="connsiteX1" fmla="*/ 0 w 8126412"/>
              <a:gd name="connsiteY1" fmla="*/ 0 h 6381155"/>
              <a:gd name="connsiteX2" fmla="*/ 7846583 w 8126412"/>
              <a:gd name="connsiteY2" fmla="*/ 0 h 6381155"/>
              <a:gd name="connsiteX3" fmla="*/ 8126412 w 8126412"/>
              <a:gd name="connsiteY3" fmla="*/ 279829 h 6381155"/>
              <a:gd name="connsiteX4" fmla="*/ 8126412 w 8126412"/>
              <a:gd name="connsiteY4" fmla="*/ 6289715 h 6381155"/>
              <a:gd name="connsiteX5" fmla="*/ 91440 w 8126412"/>
              <a:gd name="connsiteY5" fmla="*/ 6381155 h 6381155"/>
              <a:gd name="connsiteX0" fmla="*/ 0 w 8126412"/>
              <a:gd name="connsiteY0" fmla="*/ 0 h 6381155"/>
              <a:gd name="connsiteX1" fmla="*/ 7846583 w 8126412"/>
              <a:gd name="connsiteY1" fmla="*/ 0 h 6381155"/>
              <a:gd name="connsiteX2" fmla="*/ 8126412 w 8126412"/>
              <a:gd name="connsiteY2" fmla="*/ 279829 h 6381155"/>
              <a:gd name="connsiteX3" fmla="*/ 8126412 w 8126412"/>
              <a:gd name="connsiteY3" fmla="*/ 6289715 h 6381155"/>
              <a:gd name="connsiteX4" fmla="*/ 91440 w 8126412"/>
              <a:gd name="connsiteY4" fmla="*/ 6381155 h 6381155"/>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Lst>
            <a:ahLst/>
            <a:cxnLst>
              <a:cxn ang="0">
                <a:pos x="connsiteX0" y="connsiteY0"/>
              </a:cxn>
              <a:cxn ang="0">
                <a:pos x="connsiteX1" y="connsiteY1"/>
              </a:cxn>
              <a:cxn ang="0">
                <a:pos x="connsiteX2" y="connsiteY2"/>
              </a:cxn>
              <a:cxn ang="0">
                <a:pos x="connsiteX3" y="connsiteY3"/>
              </a:cxn>
            </a:cxnLst>
            <a:rect l="l" t="t" r="r" b="b"/>
            <a:pathLst>
              <a:path w="8126412" h="6289715">
                <a:moveTo>
                  <a:pt x="0" y="0"/>
                </a:moveTo>
                <a:lnTo>
                  <a:pt x="7846583" y="0"/>
                </a:lnTo>
                <a:cubicBezTo>
                  <a:pt x="8001128" y="0"/>
                  <a:pt x="8126412" y="125284"/>
                  <a:pt x="8126412" y="279829"/>
                </a:cubicBezTo>
                <a:lnTo>
                  <a:pt x="8126412" y="6289715"/>
                </a:lnTo>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Picture 2" descr="A logo with a black background&#10;&#10;AI-generated content may be incorrect.">
            <a:extLst>
              <a:ext uri="{FF2B5EF4-FFF2-40B4-BE49-F238E27FC236}">
                <a16:creationId xmlns:a16="http://schemas.microsoft.com/office/drawing/2014/main" id="{9CECB29E-87D6-D1A6-3EE6-6F1B5B1CD4CC}"/>
              </a:ext>
            </a:extLst>
          </p:cNvPr>
          <p:cNvPicPr>
            <a:picLocks noChangeAspect="1"/>
          </p:cNvPicPr>
          <p:nvPr userDrawn="1"/>
        </p:nvPicPr>
        <p:blipFill>
          <a:blip r:embed="rId2"/>
          <a:srcRect l="36703" t="27623"/>
          <a:stretch/>
        </p:blipFill>
        <p:spPr>
          <a:xfrm>
            <a:off x="-1" y="0"/>
            <a:ext cx="3404843" cy="3893258"/>
          </a:xfrm>
          <a:prstGeom prst="rect">
            <a:avLst/>
          </a:prstGeom>
        </p:spPr>
      </p:pic>
    </p:spTree>
    <p:extLst>
      <p:ext uri="{BB962C8B-B14F-4D97-AF65-F5344CB8AC3E}">
        <p14:creationId xmlns:p14="http://schemas.microsoft.com/office/powerpoint/2010/main" val="15476593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07056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C9F0F7-6EC2-B20A-117D-E4209A74FF12}"/>
              </a:ext>
            </a:extLst>
          </p:cNvPr>
          <p:cNvSpPr/>
          <p:nvPr userDrawn="1"/>
        </p:nvSpPr>
        <p:spPr>
          <a:xfrm rot="5400000">
            <a:off x="1374183" y="2075860"/>
            <a:ext cx="790582" cy="2706279"/>
          </a:xfrm>
          <a:prstGeom prst="roundRect">
            <a:avLst>
              <a:gd name="adj" fmla="val 500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626691" y="3152000"/>
            <a:ext cx="2285566" cy="553998"/>
          </a:xfrm>
        </p:spPr>
        <p:txBody>
          <a:bodyPr anchor="ctr"/>
          <a:lstStyle>
            <a:lvl1pPr algn="ctr">
              <a:defRPr>
                <a:gradFill>
                  <a:gsLst>
                    <a:gs pos="0">
                      <a:schemeClr val="tx2">
                        <a:lumMod val="50000"/>
                      </a:schemeClr>
                    </a:gs>
                    <a:gs pos="80000">
                      <a:schemeClr val="accent4"/>
                    </a:gs>
                    <a:gs pos="46000">
                      <a:schemeClr val="tx2"/>
                    </a:gs>
                  </a:gsLst>
                  <a:lin ang="13500000" scaled="1"/>
                </a:gradFill>
              </a:defRPr>
            </a:lvl1pPr>
          </a:lstStyle>
          <a:p>
            <a:r>
              <a:rPr lang="en-US"/>
              <a:t>Agenda</a:t>
            </a:r>
          </a:p>
        </p:txBody>
      </p:sp>
      <p:sp>
        <p:nvSpPr>
          <p:cNvPr id="120" name="Rectangle: Rounded Corners 119">
            <a:extLst>
              <a:ext uri="{FF2B5EF4-FFF2-40B4-BE49-F238E27FC236}">
                <a16:creationId xmlns:a16="http://schemas.microsoft.com/office/drawing/2014/main" id="{933020F6-E480-8A11-24C0-6B9CC5B163BC}"/>
              </a:ext>
            </a:extLst>
          </p:cNvPr>
          <p:cNvSpPr/>
          <p:nvPr userDrawn="1"/>
        </p:nvSpPr>
        <p:spPr bwMode="auto">
          <a:xfrm rot="10800000" flipH="1" flipV="1">
            <a:off x="4356099" y="585788"/>
            <a:ext cx="7264400" cy="5683250"/>
          </a:xfrm>
          <a:prstGeom prst="roundRect">
            <a:avLst>
              <a:gd name="adj" fmla="val 3387"/>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4" name="Text Placeholder 3">
            <a:extLst>
              <a:ext uri="{FF2B5EF4-FFF2-40B4-BE49-F238E27FC236}">
                <a16:creationId xmlns:a16="http://schemas.microsoft.com/office/drawing/2014/main" id="{4F23B1FC-F6DB-A951-8D43-3A5B31A61041}"/>
              </a:ext>
            </a:extLst>
          </p:cNvPr>
          <p:cNvSpPr>
            <a:spLocks noGrp="1"/>
          </p:cNvSpPr>
          <p:nvPr>
            <p:ph type="body" sz="quarter" idx="10" hasCustomPrompt="1"/>
          </p:nvPr>
        </p:nvSpPr>
        <p:spPr>
          <a:xfrm>
            <a:off x="4519613" y="981539"/>
            <a:ext cx="6936014" cy="276999"/>
          </a:xfrm>
        </p:spPr>
        <p:txBody>
          <a:bodyPr/>
          <a:lstStyle>
            <a:lvl1pPr marL="0" indent="0">
              <a:buNone/>
              <a:defRPr sz="1800"/>
            </a:lvl1pPr>
            <a:lvl2pPr marL="228600" indent="0">
              <a:buNone/>
              <a:defRPr/>
            </a:lvl2pPr>
          </a:lstStyle>
          <a:p>
            <a:pPr lvl="0"/>
            <a:r>
              <a:rPr lang="en-US"/>
              <a:t>Click to add text</a:t>
            </a:r>
          </a:p>
        </p:txBody>
      </p:sp>
      <p:sp>
        <p:nvSpPr>
          <p:cNvPr id="5" name="Text Placeholder 3">
            <a:extLst>
              <a:ext uri="{FF2B5EF4-FFF2-40B4-BE49-F238E27FC236}">
                <a16:creationId xmlns:a16="http://schemas.microsoft.com/office/drawing/2014/main" id="{E0B828B9-4E6B-16B4-DA4E-3B869FADC948}"/>
              </a:ext>
            </a:extLst>
          </p:cNvPr>
          <p:cNvSpPr>
            <a:spLocks noGrp="1"/>
          </p:cNvSpPr>
          <p:nvPr>
            <p:ph type="body" sz="quarter" idx="11" hasCustomPrompt="1"/>
          </p:nvPr>
        </p:nvSpPr>
        <p:spPr>
          <a:xfrm>
            <a:off x="4519613" y="1904489"/>
            <a:ext cx="6936014" cy="276999"/>
          </a:xfrm>
        </p:spPr>
        <p:txBody>
          <a:bodyPr/>
          <a:lstStyle>
            <a:lvl1pPr marL="0" indent="0">
              <a:buNone/>
              <a:defRPr sz="1800"/>
            </a:lvl1pPr>
            <a:lvl2pPr marL="228600" indent="0">
              <a:buNone/>
              <a:defRPr/>
            </a:lvl2pPr>
          </a:lstStyle>
          <a:p>
            <a:pPr lvl="0"/>
            <a:r>
              <a:rPr lang="en-US"/>
              <a:t>Click to add text</a:t>
            </a:r>
          </a:p>
        </p:txBody>
      </p:sp>
      <p:sp>
        <p:nvSpPr>
          <p:cNvPr id="7" name="Text Placeholder 3">
            <a:extLst>
              <a:ext uri="{FF2B5EF4-FFF2-40B4-BE49-F238E27FC236}">
                <a16:creationId xmlns:a16="http://schemas.microsoft.com/office/drawing/2014/main" id="{D74CB702-0EA1-542F-E8CA-63882AAB6EB3}"/>
              </a:ext>
            </a:extLst>
          </p:cNvPr>
          <p:cNvSpPr>
            <a:spLocks noGrp="1"/>
          </p:cNvSpPr>
          <p:nvPr>
            <p:ph type="body" sz="quarter" idx="12" hasCustomPrompt="1"/>
          </p:nvPr>
        </p:nvSpPr>
        <p:spPr>
          <a:xfrm>
            <a:off x="4519613" y="2827439"/>
            <a:ext cx="6936014" cy="276999"/>
          </a:xfrm>
        </p:spPr>
        <p:txBody>
          <a:bodyPr/>
          <a:lstStyle>
            <a:lvl1pPr marL="0" indent="0">
              <a:buNone/>
              <a:defRPr sz="1800"/>
            </a:lvl1pPr>
            <a:lvl2pPr marL="228600" indent="0">
              <a:buNone/>
              <a:defRPr/>
            </a:lvl2pPr>
          </a:lstStyle>
          <a:p>
            <a:pPr lvl="0"/>
            <a:r>
              <a:rPr lang="en-US"/>
              <a:t>Click to add text</a:t>
            </a:r>
          </a:p>
        </p:txBody>
      </p:sp>
      <p:sp>
        <p:nvSpPr>
          <p:cNvPr id="8" name="Text Placeholder 3">
            <a:extLst>
              <a:ext uri="{FF2B5EF4-FFF2-40B4-BE49-F238E27FC236}">
                <a16:creationId xmlns:a16="http://schemas.microsoft.com/office/drawing/2014/main" id="{9A9F8B7A-DFA1-84EF-2CBF-1B70386F8CED}"/>
              </a:ext>
            </a:extLst>
          </p:cNvPr>
          <p:cNvSpPr>
            <a:spLocks noGrp="1"/>
          </p:cNvSpPr>
          <p:nvPr>
            <p:ph type="body" sz="quarter" idx="13" hasCustomPrompt="1"/>
          </p:nvPr>
        </p:nvSpPr>
        <p:spPr>
          <a:xfrm>
            <a:off x="4519613" y="3750389"/>
            <a:ext cx="6936014" cy="276999"/>
          </a:xfrm>
        </p:spPr>
        <p:txBody>
          <a:bodyPr/>
          <a:lstStyle>
            <a:lvl1pPr marL="0" indent="0">
              <a:buNone/>
              <a:defRPr sz="1800"/>
            </a:lvl1pPr>
            <a:lvl2pPr marL="228600" indent="0">
              <a:buNone/>
              <a:defRPr/>
            </a:lvl2pPr>
          </a:lstStyle>
          <a:p>
            <a:pPr lvl="0"/>
            <a:r>
              <a:rPr lang="en-US"/>
              <a:t>Click to add text</a:t>
            </a:r>
          </a:p>
        </p:txBody>
      </p:sp>
      <p:sp>
        <p:nvSpPr>
          <p:cNvPr id="14" name="Text Placeholder 3">
            <a:extLst>
              <a:ext uri="{FF2B5EF4-FFF2-40B4-BE49-F238E27FC236}">
                <a16:creationId xmlns:a16="http://schemas.microsoft.com/office/drawing/2014/main" id="{9D301A2A-C8AB-BF1E-9F14-C896FCD998BD}"/>
              </a:ext>
            </a:extLst>
          </p:cNvPr>
          <p:cNvSpPr>
            <a:spLocks noGrp="1"/>
          </p:cNvSpPr>
          <p:nvPr>
            <p:ph type="body" sz="quarter" idx="14" hasCustomPrompt="1"/>
          </p:nvPr>
        </p:nvSpPr>
        <p:spPr>
          <a:xfrm>
            <a:off x="4519613" y="4673339"/>
            <a:ext cx="6936014" cy="276999"/>
          </a:xfrm>
        </p:spPr>
        <p:txBody>
          <a:bodyPr/>
          <a:lstStyle>
            <a:lvl1pPr marL="0" indent="0">
              <a:buNone/>
              <a:defRPr sz="1800"/>
            </a:lvl1pPr>
            <a:lvl2pPr marL="228600" indent="0">
              <a:buNone/>
              <a:defRPr/>
            </a:lvl2pPr>
          </a:lstStyle>
          <a:p>
            <a:pPr lvl="0"/>
            <a:r>
              <a:rPr lang="en-US"/>
              <a:t>Click to add text</a:t>
            </a:r>
          </a:p>
        </p:txBody>
      </p:sp>
      <p:sp>
        <p:nvSpPr>
          <p:cNvPr id="17" name="Text Placeholder 3">
            <a:extLst>
              <a:ext uri="{FF2B5EF4-FFF2-40B4-BE49-F238E27FC236}">
                <a16:creationId xmlns:a16="http://schemas.microsoft.com/office/drawing/2014/main" id="{D6B63B9E-D78B-52B3-F630-5E7AFC99A9DC}"/>
              </a:ext>
            </a:extLst>
          </p:cNvPr>
          <p:cNvSpPr>
            <a:spLocks noGrp="1"/>
          </p:cNvSpPr>
          <p:nvPr>
            <p:ph type="body" sz="quarter" idx="15" hasCustomPrompt="1"/>
          </p:nvPr>
        </p:nvSpPr>
        <p:spPr>
          <a:xfrm>
            <a:off x="4519613" y="5596288"/>
            <a:ext cx="6936014" cy="276999"/>
          </a:xfrm>
        </p:spPr>
        <p:txBody>
          <a:bodyPr/>
          <a:lstStyle>
            <a:lvl1pPr marL="0" indent="0">
              <a:buNone/>
              <a:defRPr sz="1800"/>
            </a:lvl1pPr>
            <a:lvl2pPr marL="228600" indent="0">
              <a:buNone/>
              <a:defRPr/>
            </a:lvl2pPr>
          </a:lstStyle>
          <a:p>
            <a:pPr lvl="0"/>
            <a:r>
              <a:rPr lang="en-US"/>
              <a:t>Click to add text</a:t>
            </a:r>
          </a:p>
        </p:txBody>
      </p:sp>
      <p:sp>
        <p:nvSpPr>
          <p:cNvPr id="18" name="Text Placeholder 3">
            <a:extLst>
              <a:ext uri="{FF2B5EF4-FFF2-40B4-BE49-F238E27FC236}">
                <a16:creationId xmlns:a16="http://schemas.microsoft.com/office/drawing/2014/main" id="{E1C582BF-25CD-AFD5-A441-B340181D1581}"/>
              </a:ext>
            </a:extLst>
          </p:cNvPr>
          <p:cNvSpPr>
            <a:spLocks noGrp="1"/>
          </p:cNvSpPr>
          <p:nvPr>
            <p:ph type="body" sz="quarter" idx="16" hasCustomPrompt="1"/>
          </p:nvPr>
        </p:nvSpPr>
        <p:spPr>
          <a:xfrm>
            <a:off x="3475262" y="8437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20" name="Text Placeholder 3">
            <a:extLst>
              <a:ext uri="{FF2B5EF4-FFF2-40B4-BE49-F238E27FC236}">
                <a16:creationId xmlns:a16="http://schemas.microsoft.com/office/drawing/2014/main" id="{D58A6651-83A2-4FDE-9EE8-C9F73C85BBA4}"/>
              </a:ext>
            </a:extLst>
          </p:cNvPr>
          <p:cNvSpPr>
            <a:spLocks noGrp="1"/>
          </p:cNvSpPr>
          <p:nvPr>
            <p:ph type="body" sz="quarter" idx="17" hasCustomPrompt="1"/>
          </p:nvPr>
        </p:nvSpPr>
        <p:spPr>
          <a:xfrm>
            <a:off x="3475262" y="17667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1" name="Text Placeholder 3">
            <a:extLst>
              <a:ext uri="{FF2B5EF4-FFF2-40B4-BE49-F238E27FC236}">
                <a16:creationId xmlns:a16="http://schemas.microsoft.com/office/drawing/2014/main" id="{898E7064-EB39-21D4-8EB3-44B8E662F088}"/>
              </a:ext>
            </a:extLst>
          </p:cNvPr>
          <p:cNvSpPr>
            <a:spLocks noGrp="1"/>
          </p:cNvSpPr>
          <p:nvPr>
            <p:ph type="body" sz="quarter" idx="18" hasCustomPrompt="1"/>
          </p:nvPr>
        </p:nvSpPr>
        <p:spPr>
          <a:xfrm>
            <a:off x="3475262" y="26896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2" name="Text Placeholder 3">
            <a:extLst>
              <a:ext uri="{FF2B5EF4-FFF2-40B4-BE49-F238E27FC236}">
                <a16:creationId xmlns:a16="http://schemas.microsoft.com/office/drawing/2014/main" id="{C75E5FCA-0817-2FF8-A4ED-10EAA0763B96}"/>
              </a:ext>
            </a:extLst>
          </p:cNvPr>
          <p:cNvSpPr>
            <a:spLocks noGrp="1"/>
          </p:cNvSpPr>
          <p:nvPr>
            <p:ph type="body" sz="quarter" idx="19" hasCustomPrompt="1"/>
          </p:nvPr>
        </p:nvSpPr>
        <p:spPr>
          <a:xfrm>
            <a:off x="3475262" y="36126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3" name="Text Placeholder 3">
            <a:extLst>
              <a:ext uri="{FF2B5EF4-FFF2-40B4-BE49-F238E27FC236}">
                <a16:creationId xmlns:a16="http://schemas.microsoft.com/office/drawing/2014/main" id="{BA332009-79C4-DCCE-9B59-92DED15FBB7D}"/>
              </a:ext>
            </a:extLst>
          </p:cNvPr>
          <p:cNvSpPr>
            <a:spLocks noGrp="1"/>
          </p:cNvSpPr>
          <p:nvPr>
            <p:ph type="body" sz="quarter" idx="20" hasCustomPrompt="1"/>
          </p:nvPr>
        </p:nvSpPr>
        <p:spPr>
          <a:xfrm>
            <a:off x="3475262" y="45355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4" name="Text Placeholder 3">
            <a:extLst>
              <a:ext uri="{FF2B5EF4-FFF2-40B4-BE49-F238E27FC236}">
                <a16:creationId xmlns:a16="http://schemas.microsoft.com/office/drawing/2014/main" id="{DFB14306-DD8B-5B21-867F-C2384E91B426}"/>
              </a:ext>
            </a:extLst>
          </p:cNvPr>
          <p:cNvSpPr>
            <a:spLocks noGrp="1"/>
          </p:cNvSpPr>
          <p:nvPr>
            <p:ph type="body" sz="quarter" idx="21" hasCustomPrompt="1"/>
          </p:nvPr>
        </p:nvSpPr>
        <p:spPr>
          <a:xfrm>
            <a:off x="3475262" y="5458514"/>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Tree>
    <p:extLst>
      <p:ext uri="{BB962C8B-B14F-4D97-AF65-F5344CB8AC3E}">
        <p14:creationId xmlns:p14="http://schemas.microsoft.com/office/powerpoint/2010/main" val="130813810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294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6014B8A-0BF9-32DE-FF0E-08947B1E697A}"/>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29471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C1F22C-2B1A-F6F0-294E-A5EF9CCFED6E}"/>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 name="Rectangle: Rounded Corners 2">
            <a:extLst>
              <a:ext uri="{FF2B5EF4-FFF2-40B4-BE49-F238E27FC236}">
                <a16:creationId xmlns:a16="http://schemas.microsoft.com/office/drawing/2014/main" id="{9405749C-C9B4-C521-8C9B-11C31335193D}"/>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9" name="Rectangle: Rounded Corners 8">
            <a:extLst>
              <a:ext uri="{FF2B5EF4-FFF2-40B4-BE49-F238E27FC236}">
                <a16:creationId xmlns:a16="http://schemas.microsoft.com/office/drawing/2014/main" id="{6E17841F-0E6D-8C6C-F881-8C74D0940C00}"/>
              </a:ext>
            </a:extLst>
          </p:cNvPr>
          <p:cNvSpPr/>
          <p:nvPr userDrawn="1"/>
        </p:nvSpPr>
        <p:spPr bwMode="auto">
          <a:xfrm rot="10800000" flipH="1" flipV="1">
            <a:off x="584200" y="1436687"/>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4" name="Rectangle: Rounded Corners 3">
            <a:extLst>
              <a:ext uri="{FF2B5EF4-FFF2-40B4-BE49-F238E27FC236}">
                <a16:creationId xmlns:a16="http://schemas.microsoft.com/office/drawing/2014/main" id="{71308E59-3ACE-64FB-C5EE-5AAAF9A10072}"/>
              </a:ext>
            </a:extLst>
          </p:cNvPr>
          <p:cNvSpPr/>
          <p:nvPr userDrawn="1"/>
        </p:nvSpPr>
        <p:spPr bwMode="auto">
          <a:xfrm rot="10800000" flipH="1" flipV="1">
            <a:off x="6397625" y="1436688"/>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7A78A194-45FE-72BA-5A7A-9D3CBAD69248}"/>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7">
            <a:extLst>
              <a:ext uri="{FF2B5EF4-FFF2-40B4-BE49-F238E27FC236}">
                <a16:creationId xmlns:a16="http://schemas.microsoft.com/office/drawing/2014/main" id="{6645A37A-FA23-4EE3-A9F0-CF8A27E9980E}"/>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0540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mputer slide_blac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627182-25F3-985C-C7BF-D8AFBD4C8DA6}"/>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22C7F341-B199-A0F1-2E33-BC41D9BB8BF8}"/>
              </a:ext>
            </a:extLst>
          </p:cNvPr>
          <p:cNvGrpSpPr/>
          <p:nvPr userDrawn="1"/>
        </p:nvGrpSpPr>
        <p:grpSpPr>
          <a:xfrm>
            <a:off x="6339102" y="-734994"/>
            <a:ext cx="7322981" cy="6854735"/>
            <a:chOff x="6339102" y="-734994"/>
            <a:chExt cx="7322981" cy="6854735"/>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grpSp>
      <p:pic>
        <p:nvPicPr>
          <p:cNvPr id="12" name="Picture 11" descr="A logo with a black background&#10;&#10;AI-generated content may be incorrect.">
            <a:extLst>
              <a:ext uri="{FF2B5EF4-FFF2-40B4-BE49-F238E27FC236}">
                <a16:creationId xmlns:a16="http://schemas.microsoft.com/office/drawing/2014/main" id="{1479FD39-8E5D-B724-F106-AD191884EF3D}"/>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5469"/>
          <a:stretch>
            <a:fillRect/>
          </a:stretch>
        </p:blipFill>
        <p:spPr>
          <a:xfrm>
            <a:off x="1577526" y="-293687"/>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3">
            <a:extLst>
              <a:ext uri="{28A0092B-C50C-407E-A947-70E740481C1C}">
                <a14:useLocalDpi xmlns:a14="http://schemas.microsoft.com/office/drawing/2010/main" val="0"/>
              </a:ext>
            </a:extLst>
          </a:blip>
          <a:srcRect l="5810" t="781" r="18604" b="40712"/>
          <a:stretch>
            <a:fillRect/>
          </a:stretch>
        </p:blipFill>
        <p:spPr>
          <a:xfrm>
            <a:off x="2333172" y="376341"/>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sp>
        <p:nvSpPr>
          <p:cNvPr id="11" name="Picture Placeholder 3">
            <a:extLst>
              <a:ext uri="{FF2B5EF4-FFF2-40B4-BE49-F238E27FC236}">
                <a16:creationId xmlns:a16="http://schemas.microsoft.com/office/drawing/2014/main" id="{26B46093-466F-5728-35CE-BC376C4CF9CA}"/>
              </a:ext>
            </a:extLst>
          </p:cNvPr>
          <p:cNvSpPr>
            <a:spLocks noGrp="1"/>
          </p:cNvSpPr>
          <p:nvPr>
            <p:ph type="pic" sz="quarter" idx="12"/>
          </p:nvPr>
        </p:nvSpPr>
        <p:spPr>
          <a:xfrm>
            <a:off x="4895850" y="1622198"/>
            <a:ext cx="6381749" cy="3592740"/>
          </a:xfrm>
          <a:solidFill>
            <a:schemeClr val="accent1"/>
          </a:solidFill>
        </p:spPr>
        <p:txBody>
          <a:bodyPr tIns="0" bIns="1005840"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3866750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mputer slide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AF024-DF0F-6F4E-B648-CC17470CF719}"/>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0783932-2FAF-F03E-0C6C-AE9D2DA2D4FF}"/>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0A44E0DE-A4E5-69A5-4033-A8026EE10B35}"/>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7" name="Picture 6" descr="A logo with a black background&#10;&#10;AI-generated content may be incorrect.">
            <a:extLst>
              <a:ext uri="{FF2B5EF4-FFF2-40B4-BE49-F238E27FC236}">
                <a16:creationId xmlns:a16="http://schemas.microsoft.com/office/drawing/2014/main" id="{CCA15DD8-9FE3-CEEE-71DE-4F8B8B7F845C}"/>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65046"/>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26941"/>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3" name="Picture Placeholder 3">
            <a:extLst>
              <a:ext uri="{FF2B5EF4-FFF2-40B4-BE49-F238E27FC236}">
                <a16:creationId xmlns:a16="http://schemas.microsoft.com/office/drawing/2014/main" id="{E3B3B89C-2AB1-C186-B0D3-3C8E3F7E5D83}"/>
              </a:ext>
            </a:extLst>
          </p:cNvPr>
          <p:cNvSpPr>
            <a:spLocks noGrp="1"/>
          </p:cNvSpPr>
          <p:nvPr userDrawn="1">
            <p:ph type="pic" sz="quarter" idx="12"/>
          </p:nvPr>
        </p:nvSpPr>
        <p:spPr>
          <a:xfrm>
            <a:off x="4895851" y="1622880"/>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6BA2998A-0C85-2B3D-B1D2-E72F406F4E7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043142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 name="Picture 5" descr="A logo with a black background&#10;&#10;AI-generated content may be incorrect.">
            <a:extLst>
              <a:ext uri="{FF2B5EF4-FFF2-40B4-BE49-F238E27FC236}">
                <a16:creationId xmlns:a16="http://schemas.microsoft.com/office/drawing/2014/main" id="{E8B303BC-83F0-A58E-77F4-B3D10283D2AA}"/>
              </a:ext>
            </a:extLst>
          </p:cNvPr>
          <p:cNvPicPr>
            <a:picLocks noChangeAspect="1"/>
          </p:cNvPicPr>
          <p:nvPr userDrawn="1"/>
        </p:nvPicPr>
        <p:blipFill>
          <a:blip r:embed="rId3"/>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15679"/>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8980434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uter slide_Light_Grey">
    <p:bg>
      <p:bgRef idx="1001">
        <a:schemeClr val="bg1"/>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C388186-ABC7-41BF-4BB1-AFBE284C8A6D}"/>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24FA7DCC-EB71-5F85-BF43-EA7FA6317F7B}"/>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5000">
                      <a:schemeClr val="tx2"/>
                    </a:gs>
                    <a:gs pos="100000">
                      <a:schemeClr val="accent4"/>
                    </a:gs>
                  </a:gsLst>
                  <a:path path="circle">
                    <a:fillToRect l="100000" t="100000"/>
                  </a:path>
                </a:gradFill>
              </a:defRPr>
            </a:lvl1pPr>
          </a:lstStyle>
          <a:p>
            <a:r>
              <a:rPr lang="en-US"/>
              <a:t>Click to edit Master title style</a:t>
            </a:r>
          </a:p>
        </p:txBody>
      </p:sp>
      <p:pic>
        <p:nvPicPr>
          <p:cNvPr id="4" name="Picture 3" descr="A logo with a black background&#10;&#10;AI-generated content may be incorrect.">
            <a:extLst>
              <a:ext uri="{FF2B5EF4-FFF2-40B4-BE49-F238E27FC236}">
                <a16:creationId xmlns:a16="http://schemas.microsoft.com/office/drawing/2014/main" id="{7B278159-A364-F70A-B087-EA8061A3D967}"/>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76670"/>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38565"/>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11" name="Picture Placeholder 3">
            <a:extLst>
              <a:ext uri="{FF2B5EF4-FFF2-40B4-BE49-F238E27FC236}">
                <a16:creationId xmlns:a16="http://schemas.microsoft.com/office/drawing/2014/main" id="{323A1DFD-1FF8-E907-5F33-71FC81529B15}"/>
              </a:ext>
            </a:extLst>
          </p:cNvPr>
          <p:cNvSpPr>
            <a:spLocks noGrp="1"/>
          </p:cNvSpPr>
          <p:nvPr>
            <p:ph type="pic" sz="quarter" idx="12"/>
          </p:nvPr>
        </p:nvSpPr>
        <p:spPr>
          <a:xfrm>
            <a:off x="4895851" y="1634504"/>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3879673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mputer slide_Light_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6164502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8" name="Picture 7" descr="A logo with a black background&#10;&#10;AI-generated content may be incorrect.">
            <a:extLst>
              <a:ext uri="{FF2B5EF4-FFF2-40B4-BE49-F238E27FC236}">
                <a16:creationId xmlns:a16="http://schemas.microsoft.com/office/drawing/2014/main" id="{18806773-0AA2-012D-F2A6-DDA3C9F7993C}"/>
              </a:ext>
            </a:extLst>
          </p:cNvPr>
          <p:cNvPicPr>
            <a:picLocks noChangeAspect="1"/>
          </p:cNvPicPr>
          <p:nvPr userDrawn="1"/>
        </p:nvPicPr>
        <p:blipFill>
          <a:blip r:embed="rId2"/>
          <a:srcRect r="-1583" b="34739"/>
          <a:stretch/>
        </p:blipFill>
        <p:spPr>
          <a:xfrm>
            <a:off x="2927965" y="2787375"/>
            <a:ext cx="6336070" cy="4070625"/>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1974B584-028F-0694-09FF-1D5F4F8274BE}"/>
              </a:ext>
            </a:extLst>
          </p:cNvPr>
          <p:cNvSpPr>
            <a:spLocks/>
          </p:cNvSpPr>
          <p:nvPr userDrawn="1"/>
        </p:nvSpPr>
        <p:spPr bwMode="auto">
          <a:xfrm rot="5400000" flipH="1" flipV="1">
            <a:off x="5756277" y="-166690"/>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4176023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lumMod val="75000"/>
                      </a:schemeClr>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5756275" y="-165101"/>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29113611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Frame Slide_Light outlin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5942012" y="-103190"/>
            <a:ext cx="5438778"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Rectangle: Top Corners Rounded 4">
            <a:extLst>
              <a:ext uri="{FF2B5EF4-FFF2-40B4-BE49-F238E27FC236}">
                <a16:creationId xmlns:a16="http://schemas.microsoft.com/office/drawing/2014/main" id="{B06A9C3B-F449-1EAF-6BA4-A24E6F6EA320}"/>
              </a:ext>
            </a:extLst>
          </p:cNvPr>
          <p:cNvSpPr>
            <a:spLocks/>
          </p:cNvSpPr>
          <p:nvPr userDrawn="1"/>
        </p:nvSpPr>
        <p:spPr bwMode="auto">
          <a:xfrm rot="5400000" flipH="1" flipV="1">
            <a:off x="5756277" y="-166690"/>
            <a:ext cx="5683248" cy="7188202"/>
          </a:xfrm>
          <a:prstGeom prst="round2SameRect">
            <a:avLst>
              <a:gd name="adj1" fmla="val 3259"/>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err="1">
              <a:gradFill>
                <a:gsLst>
                  <a:gs pos="0">
                    <a:schemeClr val="accent3"/>
                  </a:gs>
                  <a:gs pos="67000">
                    <a:schemeClr val="accent1"/>
                  </a:gs>
                  <a:gs pos="100000">
                    <a:schemeClr val="accent5"/>
                  </a:gs>
                </a:gsLst>
                <a:lin ang="5400000" scaled="1"/>
              </a:gradFill>
              <a:latin typeface="+mj-lt"/>
            </a:endParaRPr>
          </a:p>
        </p:txBody>
      </p:sp>
    </p:spTree>
    <p:extLst>
      <p:ext uri="{BB962C8B-B14F-4D97-AF65-F5344CB8AC3E}">
        <p14:creationId xmlns:p14="http://schemas.microsoft.com/office/powerpoint/2010/main" val="136175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in 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15" name="Picture 14" descr="A logo with a black background&#10;&#10;AI-generated content may be incorrect.">
            <a:extLst>
              <a:ext uri="{FF2B5EF4-FFF2-40B4-BE49-F238E27FC236}">
                <a16:creationId xmlns:a16="http://schemas.microsoft.com/office/drawing/2014/main" id="{F1877FF7-E491-6286-A2EF-4674A5DD2FBC}"/>
              </a:ext>
            </a:extLst>
          </p:cNvPr>
          <p:cNvPicPr>
            <a:picLocks noChangeAspect="1"/>
          </p:cNvPicPr>
          <p:nvPr userDrawn="1"/>
        </p:nvPicPr>
        <p:blipFill>
          <a:blip r:embed="rId2"/>
          <a:srcRect l="-1" t="43929" r="29611" b="3238"/>
          <a:stretch/>
        </p:blipFill>
        <p:spPr>
          <a:xfrm>
            <a:off x="7978140" y="-1881"/>
            <a:ext cx="4213860" cy="3162883"/>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6" name="Rectangle: Top Corners Rounded 5">
            <a:extLst>
              <a:ext uri="{FF2B5EF4-FFF2-40B4-BE49-F238E27FC236}">
                <a16:creationId xmlns:a16="http://schemas.microsoft.com/office/drawing/2014/main" id="{AB8C3002-1EF7-6E38-848D-BF7CD8D3E0D6}"/>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73332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in 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6606977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3268688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p:txBody>
          <a:bodyPr/>
          <a:lstStyle/>
          <a:p>
            <a:r>
              <a:rPr lang="en-US"/>
              <a:t>General Business Central resources</a:t>
            </a:r>
          </a:p>
        </p:txBody>
      </p:sp>
      <p:sp>
        <p:nvSpPr>
          <p:cNvPr id="16" name="Rectangle: Rounded Corners 15">
            <a:extLst>
              <a:ext uri="{FF2B5EF4-FFF2-40B4-BE49-F238E27FC236}">
                <a16:creationId xmlns:a16="http://schemas.microsoft.com/office/drawing/2014/main" id="{CF7B64D5-8AE6-7D79-ADEE-79DBF5380BB1}"/>
              </a:ext>
              <a:ext uri="{C183D7F6-B498-43B3-948B-1728B52AA6E4}">
                <adec:decorative xmlns:adec="http://schemas.microsoft.com/office/drawing/2017/decorative" val="1"/>
              </a:ext>
            </a:extLst>
          </p:cNvPr>
          <p:cNvSpPr>
            <a:spLocks/>
          </p:cNvSpPr>
          <p:nvPr userDrawn="1"/>
        </p:nvSpPr>
        <p:spPr bwMode="auto">
          <a:xfrm>
            <a:off x="571499" y="2017713"/>
            <a:ext cx="11049002" cy="4251326"/>
          </a:xfrm>
          <a:prstGeom prst="roundRect">
            <a:avLst>
              <a:gd name="adj" fmla="val 6090"/>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965F8B08-BC71-97CE-9DAF-55ED0EAA1B87}"/>
              </a:ext>
              <a:ext uri="{C183D7F6-B498-43B3-948B-1728B52AA6E4}">
                <adec:decorative xmlns:adec="http://schemas.microsoft.com/office/drawing/2017/decorative" val="1"/>
              </a:ext>
            </a:extLst>
          </p:cNvPr>
          <p:cNvSpPr>
            <a:spLocks/>
          </p:cNvSpPr>
          <p:nvPr userDrawn="1"/>
        </p:nvSpPr>
        <p:spPr bwMode="auto">
          <a:xfrm>
            <a:off x="647577" y="2117381"/>
            <a:ext cx="10896847" cy="4076249"/>
          </a:xfrm>
          <a:prstGeom prst="roundRect">
            <a:avLst>
              <a:gd name="adj" fmla="val 5311"/>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10" name="Text Placeholder 13">
            <a:extLst>
              <a:ext uri="{FF2B5EF4-FFF2-40B4-BE49-F238E27FC236}">
                <a16:creationId xmlns:a16="http://schemas.microsoft.com/office/drawing/2014/main" id="{065BC4FB-2BD8-73DD-D114-94FEE8E84DD9}"/>
              </a:ext>
            </a:extLst>
          </p:cNvPr>
          <p:cNvSpPr>
            <a:spLocks noGrp="1"/>
          </p:cNvSpPr>
          <p:nvPr>
            <p:ph type="body" sz="quarter" idx="11" hasCustomPrompt="1"/>
          </p:nvPr>
        </p:nvSpPr>
        <p:spPr>
          <a:xfrm>
            <a:off x="1885346"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1" name="Text Placeholder 13">
            <a:extLst>
              <a:ext uri="{FF2B5EF4-FFF2-40B4-BE49-F238E27FC236}">
                <a16:creationId xmlns:a16="http://schemas.microsoft.com/office/drawing/2014/main" id="{B51AD683-64D9-79C8-A8BF-1C1B516D9DA3}"/>
              </a:ext>
            </a:extLst>
          </p:cNvPr>
          <p:cNvSpPr>
            <a:spLocks noGrp="1"/>
          </p:cNvSpPr>
          <p:nvPr>
            <p:ph type="body" sz="quarter" idx="12" hasCustomPrompt="1"/>
          </p:nvPr>
        </p:nvSpPr>
        <p:spPr>
          <a:xfrm>
            <a:off x="1885346"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2" name="Text Placeholder 13">
            <a:extLst>
              <a:ext uri="{FF2B5EF4-FFF2-40B4-BE49-F238E27FC236}">
                <a16:creationId xmlns:a16="http://schemas.microsoft.com/office/drawing/2014/main" id="{0A6DAB6E-BB98-F1B3-A857-CABB8D99880A}"/>
              </a:ext>
            </a:extLst>
          </p:cNvPr>
          <p:cNvSpPr>
            <a:spLocks noGrp="1"/>
          </p:cNvSpPr>
          <p:nvPr>
            <p:ph type="body" sz="quarter" idx="13" hasCustomPrompt="1"/>
          </p:nvPr>
        </p:nvSpPr>
        <p:spPr>
          <a:xfrm>
            <a:off x="7213558"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3" name="Text Placeholder 13">
            <a:extLst>
              <a:ext uri="{FF2B5EF4-FFF2-40B4-BE49-F238E27FC236}">
                <a16:creationId xmlns:a16="http://schemas.microsoft.com/office/drawing/2014/main" id="{219E5293-A4F4-9FB0-A47D-0D434317B505}"/>
              </a:ext>
            </a:extLst>
          </p:cNvPr>
          <p:cNvSpPr>
            <a:spLocks noGrp="1"/>
          </p:cNvSpPr>
          <p:nvPr>
            <p:ph type="body" sz="quarter" idx="14" hasCustomPrompt="1"/>
          </p:nvPr>
        </p:nvSpPr>
        <p:spPr>
          <a:xfrm>
            <a:off x="7213558"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7" name="Text Placeholder 13">
            <a:extLst>
              <a:ext uri="{FF2B5EF4-FFF2-40B4-BE49-F238E27FC236}">
                <a16:creationId xmlns:a16="http://schemas.microsoft.com/office/drawing/2014/main" id="{44D8D693-3A66-DCE0-DFE1-A58F6C6F39C2}"/>
              </a:ext>
            </a:extLst>
          </p:cNvPr>
          <p:cNvSpPr>
            <a:spLocks noGrp="1"/>
          </p:cNvSpPr>
          <p:nvPr>
            <p:ph type="body" sz="quarter" idx="15" hasCustomPrompt="1"/>
          </p:nvPr>
        </p:nvSpPr>
        <p:spPr>
          <a:xfrm>
            <a:off x="1885346"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9" name="Text Placeholder 13">
            <a:extLst>
              <a:ext uri="{FF2B5EF4-FFF2-40B4-BE49-F238E27FC236}">
                <a16:creationId xmlns:a16="http://schemas.microsoft.com/office/drawing/2014/main" id="{FB49901B-AA18-5AD0-1782-D7398FA606D5}"/>
              </a:ext>
            </a:extLst>
          </p:cNvPr>
          <p:cNvSpPr>
            <a:spLocks noGrp="1"/>
          </p:cNvSpPr>
          <p:nvPr>
            <p:ph type="body" sz="quarter" idx="16" hasCustomPrompt="1"/>
          </p:nvPr>
        </p:nvSpPr>
        <p:spPr>
          <a:xfrm>
            <a:off x="1885346"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0" name="Text Placeholder 13">
            <a:extLst>
              <a:ext uri="{FF2B5EF4-FFF2-40B4-BE49-F238E27FC236}">
                <a16:creationId xmlns:a16="http://schemas.microsoft.com/office/drawing/2014/main" id="{1637A203-2087-3947-0DDD-FDA5D6CF2EE0}"/>
              </a:ext>
            </a:extLst>
          </p:cNvPr>
          <p:cNvSpPr>
            <a:spLocks noGrp="1"/>
          </p:cNvSpPr>
          <p:nvPr>
            <p:ph type="body" sz="quarter" idx="17" hasCustomPrompt="1"/>
          </p:nvPr>
        </p:nvSpPr>
        <p:spPr>
          <a:xfrm>
            <a:off x="1885346"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1" name="Text Placeholder 13">
            <a:extLst>
              <a:ext uri="{FF2B5EF4-FFF2-40B4-BE49-F238E27FC236}">
                <a16:creationId xmlns:a16="http://schemas.microsoft.com/office/drawing/2014/main" id="{96B2A2E8-8453-C099-8347-C64741812B0F}"/>
              </a:ext>
            </a:extLst>
          </p:cNvPr>
          <p:cNvSpPr>
            <a:spLocks noGrp="1"/>
          </p:cNvSpPr>
          <p:nvPr>
            <p:ph type="body" sz="quarter" idx="18" hasCustomPrompt="1"/>
          </p:nvPr>
        </p:nvSpPr>
        <p:spPr>
          <a:xfrm>
            <a:off x="1885346"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2" name="Text Placeholder 13">
            <a:extLst>
              <a:ext uri="{FF2B5EF4-FFF2-40B4-BE49-F238E27FC236}">
                <a16:creationId xmlns:a16="http://schemas.microsoft.com/office/drawing/2014/main" id="{185CE928-3A09-AB32-82A8-5593DC9FC0B2}"/>
              </a:ext>
            </a:extLst>
          </p:cNvPr>
          <p:cNvSpPr>
            <a:spLocks noGrp="1"/>
          </p:cNvSpPr>
          <p:nvPr>
            <p:ph type="body" sz="quarter" idx="19" hasCustomPrompt="1"/>
          </p:nvPr>
        </p:nvSpPr>
        <p:spPr>
          <a:xfrm>
            <a:off x="7213557"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3" name="Text Placeholder 13">
            <a:extLst>
              <a:ext uri="{FF2B5EF4-FFF2-40B4-BE49-F238E27FC236}">
                <a16:creationId xmlns:a16="http://schemas.microsoft.com/office/drawing/2014/main" id="{EC007CE8-F370-632E-E76B-27712AE98F27}"/>
              </a:ext>
            </a:extLst>
          </p:cNvPr>
          <p:cNvSpPr>
            <a:spLocks noGrp="1"/>
          </p:cNvSpPr>
          <p:nvPr>
            <p:ph type="body" sz="quarter" idx="20" hasCustomPrompt="1"/>
          </p:nvPr>
        </p:nvSpPr>
        <p:spPr>
          <a:xfrm>
            <a:off x="7213557"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4" name="Text Placeholder 13">
            <a:extLst>
              <a:ext uri="{FF2B5EF4-FFF2-40B4-BE49-F238E27FC236}">
                <a16:creationId xmlns:a16="http://schemas.microsoft.com/office/drawing/2014/main" id="{27DF75B9-DBC4-0C40-369C-05AA648D36AE}"/>
              </a:ext>
            </a:extLst>
          </p:cNvPr>
          <p:cNvSpPr>
            <a:spLocks noGrp="1"/>
          </p:cNvSpPr>
          <p:nvPr>
            <p:ph type="body" sz="quarter" idx="21" hasCustomPrompt="1"/>
          </p:nvPr>
        </p:nvSpPr>
        <p:spPr>
          <a:xfrm>
            <a:off x="7213557"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5" name="Text Placeholder 13">
            <a:extLst>
              <a:ext uri="{FF2B5EF4-FFF2-40B4-BE49-F238E27FC236}">
                <a16:creationId xmlns:a16="http://schemas.microsoft.com/office/drawing/2014/main" id="{67C2ADD1-79D4-2CC5-4B45-8588E826E4C4}"/>
              </a:ext>
            </a:extLst>
          </p:cNvPr>
          <p:cNvSpPr>
            <a:spLocks noGrp="1"/>
          </p:cNvSpPr>
          <p:nvPr>
            <p:ph type="body" sz="quarter" idx="22" hasCustomPrompt="1"/>
          </p:nvPr>
        </p:nvSpPr>
        <p:spPr>
          <a:xfrm>
            <a:off x="7213557"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357856165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a:xfrm>
            <a:off x="588263" y="2188660"/>
            <a:ext cx="3774187" cy="1107996"/>
          </a:xfrm>
        </p:spPr>
        <p:txBody>
          <a:bodyPr lIns="0" tIns="0" rIns="0" bIns="0"/>
          <a:lstStyle/>
          <a:p>
            <a:r>
              <a:rPr lang="en-US"/>
              <a:t>General Business Central resources</a:t>
            </a:r>
          </a:p>
        </p:txBody>
      </p:sp>
      <p:sp>
        <p:nvSpPr>
          <p:cNvPr id="6" name="Freeform: Shape 5">
            <a:extLst>
              <a:ext uri="{FF2B5EF4-FFF2-40B4-BE49-F238E27FC236}">
                <a16:creationId xmlns:a16="http://schemas.microsoft.com/office/drawing/2014/main" id="{10F44ECF-ABF8-FB29-8A89-8CACFFF99227}"/>
              </a:ext>
              <a:ext uri="{C183D7F6-B498-43B3-948B-1728B52AA6E4}">
                <adec:decorative xmlns:adec="http://schemas.microsoft.com/office/drawing/2017/decorative" val="1"/>
              </a:ext>
            </a:extLst>
          </p:cNvPr>
          <p:cNvSpPr>
            <a:spLocks/>
          </p:cNvSpPr>
          <p:nvPr userDrawn="1"/>
        </p:nvSpPr>
        <p:spPr bwMode="auto">
          <a:xfrm>
            <a:off x="4612384" y="0"/>
            <a:ext cx="7579616" cy="6269039"/>
          </a:xfrm>
          <a:custGeom>
            <a:avLst/>
            <a:gdLst>
              <a:gd name="connsiteX0" fmla="*/ 0 w 7579616"/>
              <a:gd name="connsiteY0" fmla="*/ 0 h 6269039"/>
              <a:gd name="connsiteX1" fmla="*/ 7579616 w 7579616"/>
              <a:gd name="connsiteY1" fmla="*/ 0 h 6269039"/>
              <a:gd name="connsiteX2" fmla="*/ 7579616 w 7579616"/>
              <a:gd name="connsiteY2" fmla="*/ 6269039 h 6269039"/>
              <a:gd name="connsiteX3" fmla="*/ 422389 w 7579616"/>
              <a:gd name="connsiteY3" fmla="*/ 6269039 h 6269039"/>
              <a:gd name="connsiteX4" fmla="*/ 0 w 7579616"/>
              <a:gd name="connsiteY4" fmla="*/ 5846649 h 6269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16" h="6269039">
                <a:moveTo>
                  <a:pt x="0" y="0"/>
                </a:moveTo>
                <a:lnTo>
                  <a:pt x="7579616" y="0"/>
                </a:lnTo>
                <a:lnTo>
                  <a:pt x="7579616" y="6269039"/>
                </a:lnTo>
                <a:lnTo>
                  <a:pt x="422389" y="6269039"/>
                </a:lnTo>
                <a:cubicBezTo>
                  <a:pt x="189109" y="6269039"/>
                  <a:pt x="0" y="6079929"/>
                  <a:pt x="0" y="5846649"/>
                </a:cubicBezTo>
                <a:close/>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2518DCF-8BAB-BF01-2CA5-31C12CE94F5C}"/>
              </a:ext>
              <a:ext uri="{C183D7F6-B498-43B3-948B-1728B52AA6E4}">
                <adec:decorative xmlns:adec="http://schemas.microsoft.com/office/drawing/2017/decorative" val="1"/>
              </a:ext>
            </a:extLst>
          </p:cNvPr>
          <p:cNvSpPr>
            <a:spLocks/>
          </p:cNvSpPr>
          <p:nvPr userDrawn="1"/>
        </p:nvSpPr>
        <p:spPr bwMode="auto">
          <a:xfrm>
            <a:off x="4688461" y="1"/>
            <a:ext cx="7503539" cy="6193631"/>
          </a:xfrm>
          <a:custGeom>
            <a:avLst/>
            <a:gdLst>
              <a:gd name="connsiteX0" fmla="*/ 0 w 7503539"/>
              <a:gd name="connsiteY0" fmla="*/ 0 h 6193631"/>
              <a:gd name="connsiteX1" fmla="*/ 7503539 w 7503539"/>
              <a:gd name="connsiteY1" fmla="*/ 0 h 6193631"/>
              <a:gd name="connsiteX2" fmla="*/ 7503539 w 7503539"/>
              <a:gd name="connsiteY2" fmla="*/ 6193631 h 6193631"/>
              <a:gd name="connsiteX3" fmla="*/ 357273 w 7503539"/>
              <a:gd name="connsiteY3" fmla="*/ 6193631 h 6193631"/>
              <a:gd name="connsiteX4" fmla="*/ 0 w 7503539"/>
              <a:gd name="connsiteY4" fmla="*/ 5836358 h 619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539" h="6193631">
                <a:moveTo>
                  <a:pt x="0" y="0"/>
                </a:moveTo>
                <a:lnTo>
                  <a:pt x="7503539" y="0"/>
                </a:lnTo>
                <a:lnTo>
                  <a:pt x="7503539" y="6193631"/>
                </a:lnTo>
                <a:lnTo>
                  <a:pt x="357273" y="6193631"/>
                </a:lnTo>
                <a:cubicBezTo>
                  <a:pt x="159958" y="6193631"/>
                  <a:pt x="0" y="6033674"/>
                  <a:pt x="0" y="5836358"/>
                </a:cubicBezTo>
                <a:close/>
              </a:path>
            </a:pathLst>
          </a:cu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7" name="Text Placeholder 13">
            <a:extLst>
              <a:ext uri="{FF2B5EF4-FFF2-40B4-BE49-F238E27FC236}">
                <a16:creationId xmlns:a16="http://schemas.microsoft.com/office/drawing/2014/main" id="{DC926123-1F71-4816-106E-7E41109975F2}"/>
              </a:ext>
            </a:extLst>
          </p:cNvPr>
          <p:cNvSpPr>
            <a:spLocks noGrp="1"/>
          </p:cNvSpPr>
          <p:nvPr>
            <p:ph type="body" sz="quarter" idx="11" hasCustomPrompt="1"/>
          </p:nvPr>
        </p:nvSpPr>
        <p:spPr>
          <a:xfrm>
            <a:off x="5120219"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8" name="Text Placeholder 13">
            <a:extLst>
              <a:ext uri="{FF2B5EF4-FFF2-40B4-BE49-F238E27FC236}">
                <a16:creationId xmlns:a16="http://schemas.microsoft.com/office/drawing/2014/main" id="{E9D324D8-E2C6-379E-3E6B-B4CECE9C7CB9}"/>
              </a:ext>
            </a:extLst>
          </p:cNvPr>
          <p:cNvSpPr>
            <a:spLocks noGrp="1"/>
          </p:cNvSpPr>
          <p:nvPr>
            <p:ph type="body" sz="quarter" idx="12" hasCustomPrompt="1"/>
          </p:nvPr>
        </p:nvSpPr>
        <p:spPr>
          <a:xfrm>
            <a:off x="5120219"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9" name="Text Placeholder 13">
            <a:extLst>
              <a:ext uri="{FF2B5EF4-FFF2-40B4-BE49-F238E27FC236}">
                <a16:creationId xmlns:a16="http://schemas.microsoft.com/office/drawing/2014/main" id="{F9BA4A51-3E46-87BC-45F7-58FF6DC6210E}"/>
              </a:ext>
            </a:extLst>
          </p:cNvPr>
          <p:cNvSpPr>
            <a:spLocks noGrp="1"/>
          </p:cNvSpPr>
          <p:nvPr>
            <p:ph type="body" sz="quarter" idx="13" hasCustomPrompt="1"/>
          </p:nvPr>
        </p:nvSpPr>
        <p:spPr>
          <a:xfrm>
            <a:off x="8742006"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4" name="Text Placeholder 13">
            <a:extLst>
              <a:ext uri="{FF2B5EF4-FFF2-40B4-BE49-F238E27FC236}">
                <a16:creationId xmlns:a16="http://schemas.microsoft.com/office/drawing/2014/main" id="{19CB1686-4AF7-E21B-6F72-7E3587474FF7}"/>
              </a:ext>
            </a:extLst>
          </p:cNvPr>
          <p:cNvSpPr>
            <a:spLocks noGrp="1"/>
          </p:cNvSpPr>
          <p:nvPr>
            <p:ph type="body" sz="quarter" idx="14" hasCustomPrompt="1"/>
          </p:nvPr>
        </p:nvSpPr>
        <p:spPr>
          <a:xfrm>
            <a:off x="8742006"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5" name="Text Placeholder 13">
            <a:extLst>
              <a:ext uri="{FF2B5EF4-FFF2-40B4-BE49-F238E27FC236}">
                <a16:creationId xmlns:a16="http://schemas.microsoft.com/office/drawing/2014/main" id="{2AC08BB4-EAA0-BD7E-5A87-BCC6C430F035}"/>
              </a:ext>
            </a:extLst>
          </p:cNvPr>
          <p:cNvSpPr>
            <a:spLocks noGrp="1"/>
          </p:cNvSpPr>
          <p:nvPr>
            <p:ph type="body" sz="quarter" idx="15" hasCustomPrompt="1"/>
          </p:nvPr>
        </p:nvSpPr>
        <p:spPr>
          <a:xfrm>
            <a:off x="5120219"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6" name="Text Placeholder 13">
            <a:extLst>
              <a:ext uri="{FF2B5EF4-FFF2-40B4-BE49-F238E27FC236}">
                <a16:creationId xmlns:a16="http://schemas.microsoft.com/office/drawing/2014/main" id="{2C6146CA-0F13-0002-0AA3-B1B67656B598}"/>
              </a:ext>
            </a:extLst>
          </p:cNvPr>
          <p:cNvSpPr>
            <a:spLocks noGrp="1"/>
          </p:cNvSpPr>
          <p:nvPr>
            <p:ph type="body" sz="quarter" idx="16" hasCustomPrompt="1"/>
          </p:nvPr>
        </p:nvSpPr>
        <p:spPr>
          <a:xfrm>
            <a:off x="5120219"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7" name="Text Placeholder 13">
            <a:extLst>
              <a:ext uri="{FF2B5EF4-FFF2-40B4-BE49-F238E27FC236}">
                <a16:creationId xmlns:a16="http://schemas.microsoft.com/office/drawing/2014/main" id="{9A118C6C-6399-A4B5-F599-DF7BF6946C20}"/>
              </a:ext>
            </a:extLst>
          </p:cNvPr>
          <p:cNvSpPr>
            <a:spLocks noGrp="1"/>
          </p:cNvSpPr>
          <p:nvPr>
            <p:ph type="body" sz="quarter" idx="17" hasCustomPrompt="1"/>
          </p:nvPr>
        </p:nvSpPr>
        <p:spPr>
          <a:xfrm>
            <a:off x="5120219"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8" name="Text Placeholder 13">
            <a:extLst>
              <a:ext uri="{FF2B5EF4-FFF2-40B4-BE49-F238E27FC236}">
                <a16:creationId xmlns:a16="http://schemas.microsoft.com/office/drawing/2014/main" id="{7C735F35-4163-81F6-B716-F4A49BF85197}"/>
              </a:ext>
            </a:extLst>
          </p:cNvPr>
          <p:cNvSpPr>
            <a:spLocks noGrp="1"/>
          </p:cNvSpPr>
          <p:nvPr>
            <p:ph type="body" sz="quarter" idx="18" hasCustomPrompt="1"/>
          </p:nvPr>
        </p:nvSpPr>
        <p:spPr>
          <a:xfrm>
            <a:off x="5120219"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9" name="Text Placeholder 13">
            <a:extLst>
              <a:ext uri="{FF2B5EF4-FFF2-40B4-BE49-F238E27FC236}">
                <a16:creationId xmlns:a16="http://schemas.microsoft.com/office/drawing/2014/main" id="{203B1102-6E81-2393-153D-5C2B5B3AABC0}"/>
              </a:ext>
            </a:extLst>
          </p:cNvPr>
          <p:cNvSpPr>
            <a:spLocks noGrp="1"/>
          </p:cNvSpPr>
          <p:nvPr>
            <p:ph type="body" sz="quarter" idx="19" hasCustomPrompt="1"/>
          </p:nvPr>
        </p:nvSpPr>
        <p:spPr>
          <a:xfrm>
            <a:off x="8742005"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0" name="Text Placeholder 13">
            <a:extLst>
              <a:ext uri="{FF2B5EF4-FFF2-40B4-BE49-F238E27FC236}">
                <a16:creationId xmlns:a16="http://schemas.microsoft.com/office/drawing/2014/main" id="{B24F0286-E681-94F3-BF9A-A3283D6C8C38}"/>
              </a:ext>
            </a:extLst>
          </p:cNvPr>
          <p:cNvSpPr>
            <a:spLocks noGrp="1"/>
          </p:cNvSpPr>
          <p:nvPr>
            <p:ph type="body" sz="quarter" idx="20" hasCustomPrompt="1"/>
          </p:nvPr>
        </p:nvSpPr>
        <p:spPr>
          <a:xfrm>
            <a:off x="8742005"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1" name="Text Placeholder 13">
            <a:extLst>
              <a:ext uri="{FF2B5EF4-FFF2-40B4-BE49-F238E27FC236}">
                <a16:creationId xmlns:a16="http://schemas.microsoft.com/office/drawing/2014/main" id="{2E3AD68B-0A55-0FC4-ECC4-C572E5E347A3}"/>
              </a:ext>
            </a:extLst>
          </p:cNvPr>
          <p:cNvSpPr>
            <a:spLocks noGrp="1"/>
          </p:cNvSpPr>
          <p:nvPr>
            <p:ph type="body" sz="quarter" idx="21" hasCustomPrompt="1"/>
          </p:nvPr>
        </p:nvSpPr>
        <p:spPr>
          <a:xfrm>
            <a:off x="8742005"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2" name="Text Placeholder 13">
            <a:extLst>
              <a:ext uri="{FF2B5EF4-FFF2-40B4-BE49-F238E27FC236}">
                <a16:creationId xmlns:a16="http://schemas.microsoft.com/office/drawing/2014/main" id="{BD1AFFA9-83AC-76A1-280F-7F65D43BA6B5}"/>
              </a:ext>
            </a:extLst>
          </p:cNvPr>
          <p:cNvSpPr>
            <a:spLocks noGrp="1"/>
          </p:cNvSpPr>
          <p:nvPr>
            <p:ph type="body" sz="quarter" idx="22" hasCustomPrompt="1"/>
          </p:nvPr>
        </p:nvSpPr>
        <p:spPr>
          <a:xfrm>
            <a:off x="8742005"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145135422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5897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pic>
        <p:nvPicPr>
          <p:cNvPr id="8" name="Picture 7" descr="A logo with a black background&#10;&#10;AI-generated content may be incorrect.">
            <a:extLst>
              <a:ext uri="{FF2B5EF4-FFF2-40B4-BE49-F238E27FC236}">
                <a16:creationId xmlns:a16="http://schemas.microsoft.com/office/drawing/2014/main" id="{42FCE860-2892-F272-1737-00B93B8C03F5}"/>
              </a:ext>
            </a:extLst>
          </p:cNvPr>
          <p:cNvPicPr>
            <a:picLocks noChangeAspect="1"/>
          </p:cNvPicPr>
          <p:nvPr userDrawn="1"/>
        </p:nvPicPr>
        <p:blipFill>
          <a:blip r:embed="rId2"/>
          <a:srcRect r="9504" b="34858"/>
          <a:stretch/>
        </p:blipFill>
        <p:spPr>
          <a:xfrm>
            <a:off x="9158496" y="4674394"/>
            <a:ext cx="3033504" cy="2183606"/>
          </a:xfrm>
          <a:prstGeom prst="rect">
            <a:avLst/>
          </a:prstGeom>
        </p:spPr>
      </p:pic>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2310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SzPct val="100000"/>
              <a:buFont typeface="Arial" panose="020B0604020202020204" pitchFamily="34" charset="0"/>
              <a:buChar char="•"/>
              <a:defRPr>
                <a:solidFill>
                  <a:schemeClr val="tx1"/>
                </a:solidFill>
              </a:defRPr>
            </a:lvl1pPr>
            <a:lvl2pPr marL="457200" indent="-228600">
              <a:buSzPct val="100000"/>
              <a:buFont typeface="Arial" panose="020B0604020202020204" pitchFamily="34" charset="0"/>
              <a:buChar char="•"/>
              <a:defRPr>
                <a:solidFill>
                  <a:schemeClr val="tx1"/>
                </a:solidFill>
              </a:defRPr>
            </a:lvl2pPr>
            <a:lvl3pPr marL="657225" indent="-200025">
              <a:buSzPct val="100000"/>
              <a:buFont typeface="Arial" panose="020B0604020202020204" pitchFamily="34" charset="0"/>
              <a:buChar char="•"/>
              <a:defRPr>
                <a:solidFill>
                  <a:schemeClr val="tx1"/>
                </a:solidFill>
              </a:defRPr>
            </a:lvl3pPr>
            <a:lvl4pPr marL="842963" indent="-180975">
              <a:buSzPct val="100000"/>
              <a:buFont typeface="Arial" panose="020B0604020202020204" pitchFamily="34" charset="0"/>
              <a:buChar char="•"/>
              <a:defRPr>
                <a:solidFill>
                  <a:schemeClr val="tx1"/>
                </a:solidFill>
              </a:defRPr>
            </a:lvl4pPr>
            <a:lvl5pPr marL="1023938" indent="-168275">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661689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315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247122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22263" indent="-150813">
              <a:buSzPct val="100000"/>
              <a:buFont typeface="Arial" panose="020B0604020202020204" pitchFamily="34" charset="0"/>
              <a:buChar char="•"/>
              <a:defRPr lang="en-US" sz="1800" dirty="0"/>
            </a:lvl2pPr>
            <a:lvl3pPr marL="466725" indent="-138113">
              <a:buSzPct val="100000"/>
              <a:buFont typeface="Arial" panose="020B0604020202020204" pitchFamily="34" charset="0"/>
              <a:buChar char="•"/>
              <a:defRPr lang="en-US" dirty="0"/>
            </a:lvl3pPr>
            <a:lvl4pPr marL="595313" indent="-128588">
              <a:buSzPct val="100000"/>
              <a:buFont typeface="Arial" panose="020B0604020202020204" pitchFamily="34" charset="0"/>
              <a:buChar char="•"/>
              <a:defRPr lang="en-US" dirty="0"/>
            </a:lvl4pPr>
            <a:lvl5pPr marL="731838" indent="-1222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656096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86097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92494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15236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347532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669374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01731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251714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718550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81872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604363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612539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72014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468211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73862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028791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923112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449972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385844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054967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371432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347299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389401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49165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7667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427762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585216" y="2977823"/>
            <a:ext cx="47106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userDrawn="1">
            <p:ph type="body" sz="quarter" idx="12" hasCustomPrompt="1"/>
          </p:nvPr>
        </p:nvSpPr>
        <p:spPr>
          <a:xfrm>
            <a:off x="585216" y="3977319"/>
            <a:ext cx="47106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20" name="Freeform: Shape 19">
            <a:extLst>
              <a:ext uri="{FF2B5EF4-FFF2-40B4-BE49-F238E27FC236}">
                <a16:creationId xmlns:a16="http://schemas.microsoft.com/office/drawing/2014/main" id="{9F53C8F2-EC31-55BF-16D2-0044C59960AA}"/>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2" name="Freeform: Shape 21">
            <a:extLst>
              <a:ext uri="{FF2B5EF4-FFF2-40B4-BE49-F238E27FC236}">
                <a16:creationId xmlns:a16="http://schemas.microsoft.com/office/drawing/2014/main" id="{2360F82B-6715-A9A5-4124-AF6BF4D6B385}"/>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14" name="Picture 13" descr="A logo with a black background&#10;&#10;AI-generated content may be incorrect.">
            <a:extLst>
              <a:ext uri="{FF2B5EF4-FFF2-40B4-BE49-F238E27FC236}">
                <a16:creationId xmlns:a16="http://schemas.microsoft.com/office/drawing/2014/main" id="{768E583E-C024-6139-8A31-CF091C9E47FB}"/>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28234170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06B757-9C63-24D6-999F-5C559937AEA0}"/>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8373E8C4-3677-66A8-6F73-22414FD5A814}"/>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p:cNvSpPr>
            <a:spLocks noGrp="1"/>
          </p:cNvSpPr>
          <p:nvPr>
            <p:ph type="title" hasCustomPrompt="1"/>
          </p:nvPr>
        </p:nvSpPr>
        <p:spPr>
          <a:xfrm>
            <a:off x="585216" y="2977823"/>
            <a:ext cx="453074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530748"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1" name="Picture 10" descr="A logo with a black background&#10;&#10;AI-generated content may be incorrect.">
            <a:extLst>
              <a:ext uri="{FF2B5EF4-FFF2-40B4-BE49-F238E27FC236}">
                <a16:creationId xmlns:a16="http://schemas.microsoft.com/office/drawing/2014/main" id="{6D03DF59-FEFF-D865-C4AF-FAA068E4C113}"/>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Tree>
    <p:extLst>
      <p:ext uri="{BB962C8B-B14F-4D97-AF65-F5344CB8AC3E}">
        <p14:creationId xmlns:p14="http://schemas.microsoft.com/office/powerpoint/2010/main" val="1091814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5002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Freeform: Shape 2">
            <a:extLst>
              <a:ext uri="{FF2B5EF4-FFF2-40B4-BE49-F238E27FC236}">
                <a16:creationId xmlns:a16="http://schemas.microsoft.com/office/drawing/2014/main" id="{5F88F596-7371-7EF3-C798-0A01A56217A8}"/>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320CF577-1635-1D5E-00BF-BF60EB02DA2A}"/>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1A38541D-B209-A2A9-FB32-D8653F0B74E1}"/>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3300517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05E75D26-CB1F-735A-72E7-E7F07B8A182B}"/>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9669AB9A-20CC-D4E5-D806-39E171E33BCE}"/>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BB945BAB-E13D-888F-8E90-C9D8BD9D6A5A}"/>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
        <p:nvSpPr>
          <p:cNvPr id="2" name="Title 1"/>
          <p:cNvSpPr>
            <a:spLocks noGrp="1"/>
          </p:cNvSpPr>
          <p:nvPr>
            <p:ph type="title" hasCustomPrompt="1"/>
          </p:nvPr>
        </p:nvSpPr>
        <p:spPr>
          <a:xfrm>
            <a:off x="585216" y="2980408"/>
            <a:ext cx="4480270"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67556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477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1690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5403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noAutofit/>
          </a:bodyPr>
          <a:lstStyle>
            <a:lvl1pPr marL="228600" indent="-228600">
              <a:buSzPct val="100000"/>
              <a:buFont typeface="Arial" panose="020B0604020202020204" pitchFamily="34" charset="0"/>
              <a:buChar char="•"/>
              <a:defRPr sz="3600">
                <a:latin typeface="+mn-lt"/>
              </a:defRPr>
            </a:lvl1pPr>
            <a:lvl2pPr marL="457200" indent="-228600">
              <a:buSzPct val="100000"/>
              <a:buFont typeface="Arial" panose="020B0604020202020204" pitchFamily="34" charset="0"/>
              <a:buChar char="•"/>
              <a:defRPr sz="2800">
                <a:latin typeface="+mn-lt"/>
              </a:defRPr>
            </a:lvl2pPr>
            <a:lvl3pPr marL="657225" indent="-200025">
              <a:buSzPct val="100000"/>
              <a:buFont typeface="Arial" panose="020B0604020202020204" pitchFamily="34" charset="0"/>
              <a:buChar char="•"/>
              <a:defRPr sz="2400">
                <a:latin typeface="+mn-lt"/>
              </a:defRPr>
            </a:lvl3pPr>
            <a:lvl4pPr marL="842963" indent="-180975">
              <a:buSzPct val="100000"/>
              <a:buFont typeface="Arial" panose="020B0604020202020204" pitchFamily="34" charset="0"/>
              <a:buChar char="•"/>
              <a:defRPr sz="2000">
                <a:latin typeface="+mn-lt"/>
              </a:defRPr>
            </a:lvl4pPr>
            <a:lvl5pPr marL="1023938" indent="-168275">
              <a:buSzPct val="100000"/>
              <a:buFont typeface="Arial" panose="020B0604020202020204" pitchFamily="34" charset="0"/>
              <a:buChar cha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883969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631291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31354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535078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290456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036282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56881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669618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379315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072874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242996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86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9148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55130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91867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5774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0536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43794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13515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456230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121550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414870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1528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84729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547267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1419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0981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1135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6599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215418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061149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39708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155417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31475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35365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780647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794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62038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56695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68972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79781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35388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67117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0661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33126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669506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001739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530027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132724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084439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39388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88007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269139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552221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534785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1350807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91748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4997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6680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9843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1488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37532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0557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94745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5823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920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718956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9369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280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28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573620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8926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551980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570133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05513096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hasCustomPrompt="1"/>
          </p:nvPr>
        </p:nvSpPr>
        <p:spPr>
          <a:xfrm>
            <a:off x="324102" y="179493"/>
            <a:ext cx="11867897" cy="369332"/>
          </a:xfrm>
        </p:spPr>
        <p:txBody>
          <a:bodyPr/>
          <a:lstStyle>
            <a:lvl1pPr>
              <a:defRPr sz="2400"/>
            </a:lvl1pPr>
          </a:lstStyle>
          <a:p>
            <a:r>
              <a:rPr lang="en-US"/>
              <a:t>[Investment area]: [Tit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324103" y="1504358"/>
            <a:ext cx="4796537" cy="1766637"/>
          </a:xfrm>
        </p:spPr>
        <p:txBody>
          <a:bodyPr/>
          <a:lstStyle>
            <a:lvl1pPr marL="0" indent="0">
              <a:buFont typeface="Arial" panose="020B0604020202020204" pitchFamily="34" charset="0"/>
              <a:buNone/>
              <a:defRPr sz="1400"/>
            </a:lvl1pPr>
            <a:lvl2pPr marL="228600" indent="0">
              <a:buNone/>
              <a:defRPr/>
            </a:lvl2pPr>
            <a:lvl3pPr marL="457200" indent="0">
              <a:buNone/>
              <a:defRPr/>
            </a:lvl3pPr>
            <a:lvl4pPr marL="661988" indent="0">
              <a:buNone/>
              <a:defRPr/>
            </a:lvl4pPr>
            <a:lvl5pPr marL="855663" indent="0">
              <a:buNone/>
              <a:defRPr/>
            </a:lvl5pPr>
          </a:lstStyle>
          <a:p>
            <a:r>
              <a:rPr lang="en-US"/>
              <a:t>Consider when explaining: </a:t>
            </a:r>
            <a:br>
              <a:rPr lang="en-US"/>
            </a:br>
            <a:r>
              <a:rPr lang="en-US"/>
              <a:t>- what’s the canonical scenario?</a:t>
            </a:r>
            <a:br>
              <a:rPr lang="en-US"/>
            </a:br>
            <a:r>
              <a:rPr lang="en-US"/>
              <a:t>- who is the primary audience for this?</a:t>
            </a:r>
            <a:br>
              <a:rPr lang="en-US"/>
            </a:br>
            <a:r>
              <a:rPr lang="en-US"/>
              <a:t>- what problem(s) is it going to solve for the primary audience?</a:t>
            </a:r>
            <a:br>
              <a:rPr lang="en-US"/>
            </a:br>
            <a:r>
              <a:rPr lang="en-US"/>
              <a:t>- mention specific purpose, key benefits and advantages that the feature offers to the users </a:t>
            </a:r>
          </a:p>
          <a:p>
            <a:endParaRPr lang="en-US"/>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438987" y="1185333"/>
            <a:ext cx="6753013" cy="4179147"/>
          </a:xfrm>
          <a:prstGeom prst="roundRect">
            <a:avLst>
              <a:gd name="adj" fmla="val 0"/>
            </a:avLst>
          </a:prstGeom>
          <a:blipFill>
            <a:blip r:embed="rId2"/>
            <a:stretch>
              <a:fillRect/>
            </a:stretch>
          </a:blipFill>
          <a:ln w="203200">
            <a:solidFill>
              <a:schemeClr val="tx1"/>
            </a:solidFill>
          </a:ln>
          <a:effectLst>
            <a:outerShdw blurRad="254000" dist="292100" dir="2700000" sx="101000" sy="101000" algn="ctr" rotWithShape="0">
              <a:srgbClr val="000000">
                <a:alpha val="15000"/>
              </a:srgbClr>
            </a:outerShdw>
          </a:effectLst>
        </p:spPr>
        <p:txBody>
          <a:bodyPr tIns="2377440" anchor="ctr"/>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3" name="Text Placeholder 13">
            <a:extLst>
              <a:ext uri="{FF2B5EF4-FFF2-40B4-BE49-F238E27FC236}">
                <a16:creationId xmlns:a16="http://schemas.microsoft.com/office/drawing/2014/main" id="{0A3B3CC7-1B70-6362-2728-DEA1D76C9D1C}"/>
              </a:ext>
            </a:extLst>
          </p:cNvPr>
          <p:cNvSpPr>
            <a:spLocks noGrp="1"/>
          </p:cNvSpPr>
          <p:nvPr>
            <p:ph type="body" sz="quarter" idx="13" hasCustomPrompt="1"/>
          </p:nvPr>
        </p:nvSpPr>
        <p:spPr>
          <a:xfrm>
            <a:off x="324103" y="4215006"/>
            <a:ext cx="4796537" cy="1292662"/>
          </a:xfrm>
        </p:spPr>
        <p:txBody>
          <a:bodyPr/>
          <a:lstStyle>
            <a:lvl1pPr marL="0" indent="0">
              <a:buFont typeface="Arial" panose="020B0604020202020204" pitchFamily="34" charset="0"/>
              <a:buNone/>
              <a:defRPr sz="1400"/>
            </a:lvl1pPr>
            <a:lvl2pPr marL="228600" indent="0">
              <a:buNone/>
              <a:defRPr/>
            </a:lvl2pPr>
            <a:lvl3pPr marL="457200" indent="0">
              <a:buNone/>
              <a:defRPr/>
            </a:lvl3pPr>
            <a:lvl4pPr marL="661988" indent="0">
              <a:buNone/>
              <a:defRPr/>
            </a:lvl4pPr>
            <a:lvl5pPr marL="855663" indent="0">
              <a:buNone/>
              <a:defRPr/>
            </a:lvl5pPr>
          </a:lstStyle>
          <a:p>
            <a:r>
              <a:rPr lang="en-US"/>
              <a:t>Consider when explaining: </a:t>
            </a:r>
            <a:br>
              <a:rPr lang="en-US"/>
            </a:br>
            <a:r>
              <a:rPr lang="en-US"/>
              <a:t>- include as little detail as necessary to get the idea of what the feature can do.</a:t>
            </a:r>
            <a:br>
              <a:rPr lang="en-US"/>
            </a:br>
            <a:r>
              <a:rPr lang="en-US"/>
              <a:t>- list relevant technical specifications, capabilities.</a:t>
            </a:r>
            <a:br>
              <a:rPr lang="en-US"/>
            </a:br>
            <a:r>
              <a:rPr lang="en-US"/>
              <a:t>- is this feature a part or continuation of the bigger work area?</a:t>
            </a:r>
          </a:p>
        </p:txBody>
      </p:sp>
      <p:sp>
        <p:nvSpPr>
          <p:cNvPr id="7" name="TextBox 6">
            <a:extLst>
              <a:ext uri="{FF2B5EF4-FFF2-40B4-BE49-F238E27FC236}">
                <a16:creationId xmlns:a16="http://schemas.microsoft.com/office/drawing/2014/main" id="{2A00EA2A-02ED-7BD2-9E73-94E85DBFAB25}"/>
              </a:ext>
            </a:extLst>
          </p:cNvPr>
          <p:cNvSpPr txBox="1"/>
          <p:nvPr userDrawn="1"/>
        </p:nvSpPr>
        <p:spPr>
          <a:xfrm>
            <a:off x="324103" y="1272137"/>
            <a:ext cx="1775630" cy="184666"/>
          </a:xfrm>
          <a:prstGeom prst="rect">
            <a:avLst/>
          </a:prstGeom>
          <a:noFill/>
        </p:spPr>
        <p:txBody>
          <a:bodyPr wrap="square" lIns="0" tIns="0" rIns="0" bIns="0" rtlCol="0">
            <a:spAutoFit/>
          </a:bodyPr>
          <a:lstStyle/>
          <a:p>
            <a:pPr algn="l"/>
            <a:r>
              <a:rPr lang="en-US" sz="1200">
                <a:latin typeface="+mj-lt"/>
              </a:rPr>
              <a:t>Business Value</a:t>
            </a:r>
            <a:endParaRPr lang="LID4096" sz="1200" err="1">
              <a:latin typeface="+mj-lt"/>
            </a:endParaRPr>
          </a:p>
        </p:txBody>
      </p:sp>
      <p:sp>
        <p:nvSpPr>
          <p:cNvPr id="8" name="TextBox 7">
            <a:extLst>
              <a:ext uri="{FF2B5EF4-FFF2-40B4-BE49-F238E27FC236}">
                <a16:creationId xmlns:a16="http://schemas.microsoft.com/office/drawing/2014/main" id="{4E416599-00C1-6EF9-D1D4-C2146B94DAFA}"/>
              </a:ext>
            </a:extLst>
          </p:cNvPr>
          <p:cNvSpPr txBox="1"/>
          <p:nvPr userDrawn="1"/>
        </p:nvSpPr>
        <p:spPr>
          <a:xfrm>
            <a:off x="324103" y="3992647"/>
            <a:ext cx="1775630" cy="184666"/>
          </a:xfrm>
          <a:prstGeom prst="rect">
            <a:avLst/>
          </a:prstGeom>
          <a:noFill/>
        </p:spPr>
        <p:txBody>
          <a:bodyPr wrap="square" lIns="0" tIns="0" rIns="0" bIns="0" rtlCol="0">
            <a:spAutoFit/>
          </a:bodyPr>
          <a:lstStyle/>
          <a:p>
            <a:pPr algn="l"/>
            <a:r>
              <a:rPr lang="en-US" sz="1200">
                <a:latin typeface="+mj-lt"/>
              </a:rPr>
              <a:t>Feature Details</a:t>
            </a:r>
            <a:endParaRPr lang="LID4096" sz="1200" err="1">
              <a:latin typeface="+mj-lt"/>
            </a:endParaRPr>
          </a:p>
        </p:txBody>
      </p:sp>
      <p:sp>
        <p:nvSpPr>
          <p:cNvPr id="9" name="TextBox 8">
            <a:extLst>
              <a:ext uri="{FF2B5EF4-FFF2-40B4-BE49-F238E27FC236}">
                <a16:creationId xmlns:a16="http://schemas.microsoft.com/office/drawing/2014/main" id="{5F748F1F-CFB6-4D97-4A7F-A8D6769D8B32}"/>
              </a:ext>
            </a:extLst>
          </p:cNvPr>
          <p:cNvSpPr txBox="1"/>
          <p:nvPr userDrawn="1"/>
        </p:nvSpPr>
        <p:spPr>
          <a:xfrm>
            <a:off x="5582411" y="6218256"/>
            <a:ext cx="1775630" cy="169277"/>
          </a:xfrm>
          <a:prstGeom prst="rect">
            <a:avLst/>
          </a:prstGeom>
          <a:noFill/>
        </p:spPr>
        <p:txBody>
          <a:bodyPr wrap="square" lIns="0" tIns="0" rIns="0" bIns="0" rtlCol="0">
            <a:spAutoFit/>
          </a:bodyPr>
          <a:lstStyle/>
          <a:p>
            <a:pPr algn="l"/>
            <a:r>
              <a:rPr lang="en-US" sz="1100">
                <a:latin typeface="+mj-lt"/>
              </a:rPr>
              <a:t>Planned Release:</a:t>
            </a:r>
            <a:endParaRPr lang="LID4096" sz="1100" err="1">
              <a:latin typeface="+mj-lt"/>
            </a:endParaRPr>
          </a:p>
        </p:txBody>
      </p:sp>
      <p:sp>
        <p:nvSpPr>
          <p:cNvPr id="10" name="Text Placeholder 13">
            <a:extLst>
              <a:ext uri="{FF2B5EF4-FFF2-40B4-BE49-F238E27FC236}">
                <a16:creationId xmlns:a16="http://schemas.microsoft.com/office/drawing/2014/main" id="{ACAF63E7-5F98-1DE1-4E5E-037ACB082944}"/>
              </a:ext>
            </a:extLst>
          </p:cNvPr>
          <p:cNvSpPr>
            <a:spLocks noGrp="1"/>
          </p:cNvSpPr>
          <p:nvPr>
            <p:ph type="body" sz="quarter" idx="14" hasCustomPrompt="1"/>
          </p:nvPr>
        </p:nvSpPr>
        <p:spPr>
          <a:xfrm>
            <a:off x="6710173" y="6191419"/>
            <a:ext cx="5367525" cy="205643"/>
          </a:xfrm>
        </p:spPr>
        <p:txBody>
          <a:bodyPr/>
          <a:lstStyle>
            <a:lvl1pPr marL="0" indent="0">
              <a:buFont typeface="Arial" panose="020B0604020202020204" pitchFamily="34" charset="0"/>
              <a:buNone/>
              <a:defRPr sz="1200"/>
            </a:lvl1pPr>
            <a:lvl2pPr marL="228600" indent="0">
              <a:buNone/>
              <a:defRPr/>
            </a:lvl2pPr>
            <a:lvl3pPr marL="457200" indent="0">
              <a:buNone/>
              <a:defRPr/>
            </a:lvl3pPr>
            <a:lvl4pPr marL="661988" indent="0">
              <a:buNone/>
              <a:defRPr/>
            </a:lvl4pPr>
            <a:lvl5pPr marL="855663" indent="0">
              <a:buNone/>
              <a:defRPr/>
            </a:lvl5pPr>
          </a:lstStyle>
          <a:p>
            <a:pPr lvl="0"/>
            <a:r>
              <a:rPr lang="en-US"/>
              <a:t>[which version  |  internal only  |  service release date] </a:t>
            </a:r>
          </a:p>
        </p:txBody>
      </p:sp>
      <p:sp>
        <p:nvSpPr>
          <p:cNvPr id="11" name="TextBox 10">
            <a:extLst>
              <a:ext uri="{FF2B5EF4-FFF2-40B4-BE49-F238E27FC236}">
                <a16:creationId xmlns:a16="http://schemas.microsoft.com/office/drawing/2014/main" id="{B94CFF4F-9FF7-C73A-3A48-F45C735DBA04}"/>
              </a:ext>
            </a:extLst>
          </p:cNvPr>
          <p:cNvSpPr txBox="1"/>
          <p:nvPr userDrawn="1"/>
        </p:nvSpPr>
        <p:spPr>
          <a:xfrm>
            <a:off x="5582411" y="5982067"/>
            <a:ext cx="1775630" cy="169277"/>
          </a:xfrm>
          <a:prstGeom prst="rect">
            <a:avLst/>
          </a:prstGeom>
          <a:noFill/>
        </p:spPr>
        <p:txBody>
          <a:bodyPr wrap="square" lIns="0" tIns="0" rIns="0" bIns="0" rtlCol="0">
            <a:spAutoFit/>
          </a:bodyPr>
          <a:lstStyle/>
          <a:p>
            <a:pPr algn="l"/>
            <a:r>
              <a:rPr lang="en-US" sz="1100">
                <a:latin typeface="+mj-lt"/>
              </a:rPr>
              <a:t>Release Plan:</a:t>
            </a:r>
            <a:endParaRPr lang="LID4096" sz="1100" err="1">
              <a:latin typeface="+mj-lt"/>
            </a:endParaRPr>
          </a:p>
        </p:txBody>
      </p:sp>
      <p:sp>
        <p:nvSpPr>
          <p:cNvPr id="12" name="TextBox 11">
            <a:extLst>
              <a:ext uri="{FF2B5EF4-FFF2-40B4-BE49-F238E27FC236}">
                <a16:creationId xmlns:a16="http://schemas.microsoft.com/office/drawing/2014/main" id="{6034FD96-52EA-6E3C-638C-0B5EF85D4BB7}"/>
              </a:ext>
            </a:extLst>
          </p:cNvPr>
          <p:cNvSpPr txBox="1"/>
          <p:nvPr userDrawn="1"/>
        </p:nvSpPr>
        <p:spPr>
          <a:xfrm>
            <a:off x="5582411" y="5763701"/>
            <a:ext cx="1775630" cy="169277"/>
          </a:xfrm>
          <a:prstGeom prst="rect">
            <a:avLst/>
          </a:prstGeom>
          <a:noFill/>
        </p:spPr>
        <p:txBody>
          <a:bodyPr wrap="square" lIns="0" tIns="0" rIns="0" bIns="0" rtlCol="0">
            <a:spAutoFit/>
          </a:bodyPr>
          <a:lstStyle/>
          <a:p>
            <a:pPr algn="l"/>
            <a:r>
              <a:rPr lang="en-US" sz="1100">
                <a:latin typeface="+mj-lt"/>
              </a:rPr>
              <a:t>Slice: </a:t>
            </a:r>
            <a:endParaRPr lang="LID4096" sz="1100" err="1">
              <a:latin typeface="+mj-lt"/>
            </a:endParaRPr>
          </a:p>
        </p:txBody>
      </p:sp>
      <p:sp>
        <p:nvSpPr>
          <p:cNvPr id="13" name="Text Placeholder 13">
            <a:extLst>
              <a:ext uri="{FF2B5EF4-FFF2-40B4-BE49-F238E27FC236}">
                <a16:creationId xmlns:a16="http://schemas.microsoft.com/office/drawing/2014/main" id="{806FEBDB-6011-7B04-2593-528A744FC2ED}"/>
              </a:ext>
            </a:extLst>
          </p:cNvPr>
          <p:cNvSpPr>
            <a:spLocks noGrp="1"/>
          </p:cNvSpPr>
          <p:nvPr>
            <p:ph type="body" sz="quarter" idx="15" hasCustomPrompt="1"/>
          </p:nvPr>
        </p:nvSpPr>
        <p:spPr>
          <a:xfrm>
            <a:off x="6710174" y="5971017"/>
            <a:ext cx="5367526" cy="205643"/>
          </a:xfrm>
        </p:spPr>
        <p:txBody>
          <a:bodyPr/>
          <a:lstStyle>
            <a:lvl1pPr marL="0" indent="0">
              <a:buFont typeface="Arial" panose="020B0604020202020204" pitchFamily="34" charset="0"/>
              <a:buNone/>
              <a:defRPr sz="1200"/>
            </a:lvl1pPr>
            <a:lvl2pPr marL="228600" indent="0">
              <a:buNone/>
              <a:defRPr/>
            </a:lvl2pPr>
            <a:lvl3pPr marL="457200" indent="0">
              <a:buNone/>
              <a:defRPr/>
            </a:lvl3pPr>
            <a:lvl4pPr marL="661988" indent="0">
              <a:buNone/>
              <a:defRPr/>
            </a:lvl4pPr>
            <a:lvl5pPr marL="855663" indent="0">
              <a:buNone/>
              <a:defRPr/>
            </a:lvl5pPr>
          </a:lstStyle>
          <a:p>
            <a:pPr lvl="0"/>
            <a:r>
              <a:rPr lang="en-US"/>
              <a:t>Paste Link to Release Plan item</a:t>
            </a:r>
          </a:p>
        </p:txBody>
      </p:sp>
      <p:sp>
        <p:nvSpPr>
          <p:cNvPr id="15" name="Text Placeholder 13">
            <a:extLst>
              <a:ext uri="{FF2B5EF4-FFF2-40B4-BE49-F238E27FC236}">
                <a16:creationId xmlns:a16="http://schemas.microsoft.com/office/drawing/2014/main" id="{78250BB8-A06E-46C6-126B-A9DE087C7703}"/>
              </a:ext>
            </a:extLst>
          </p:cNvPr>
          <p:cNvSpPr>
            <a:spLocks noGrp="1"/>
          </p:cNvSpPr>
          <p:nvPr>
            <p:ph type="body" sz="quarter" idx="16" hasCustomPrompt="1"/>
          </p:nvPr>
        </p:nvSpPr>
        <p:spPr>
          <a:xfrm>
            <a:off x="6710174" y="5760928"/>
            <a:ext cx="5367526" cy="195329"/>
          </a:xfrm>
        </p:spPr>
        <p:txBody>
          <a:bodyPr/>
          <a:lstStyle>
            <a:lvl1pPr marL="0" indent="0">
              <a:buFont typeface="Arial" panose="020B0604020202020204" pitchFamily="34" charset="0"/>
              <a:buNone/>
              <a:defRPr sz="1200"/>
            </a:lvl1pPr>
            <a:lvl2pPr marL="228600" indent="0">
              <a:buNone/>
              <a:defRPr/>
            </a:lvl2pPr>
            <a:lvl3pPr marL="457200" indent="0">
              <a:buNone/>
              <a:defRPr/>
            </a:lvl3pPr>
            <a:lvl4pPr marL="661988" indent="0">
              <a:buNone/>
              <a:defRPr/>
            </a:lvl4pPr>
            <a:lvl5pPr marL="855663" indent="0">
              <a:buNone/>
              <a:defRPr/>
            </a:lvl5pPr>
          </a:lstStyle>
          <a:p>
            <a:pPr lvl="0"/>
            <a:r>
              <a:rPr lang="en-US"/>
              <a:t>ID</a:t>
            </a:r>
          </a:p>
        </p:txBody>
      </p:sp>
    </p:spTree>
    <p:extLst>
      <p:ext uri="{BB962C8B-B14F-4D97-AF65-F5344CB8AC3E}">
        <p14:creationId xmlns:p14="http://schemas.microsoft.com/office/powerpoint/2010/main" val="2663128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98419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588264" y="3152001"/>
            <a:ext cx="2285566" cy="553998"/>
          </a:xfrm>
        </p:spPr>
        <p:txBody>
          <a:bodyPr anchor="ctr"/>
          <a:lstStyle>
            <a:lvl1pPr>
              <a:defRPr/>
            </a:lvl1pPr>
          </a:lstStyle>
          <a:p>
            <a:r>
              <a:rPr lang="en-US"/>
              <a:t>Agenda</a:t>
            </a:r>
          </a:p>
        </p:txBody>
      </p:sp>
      <p:sp>
        <p:nvSpPr>
          <p:cNvPr id="49" name="Rectangle: Single Corner Rounded 48">
            <a:extLst>
              <a:ext uri="{FF2B5EF4-FFF2-40B4-BE49-F238E27FC236}">
                <a16:creationId xmlns:a16="http://schemas.microsoft.com/office/drawing/2014/main" id="{2BC64A4E-937B-8B4B-41F3-6DAE5702A0D8}"/>
              </a:ext>
            </a:extLst>
          </p:cNvPr>
          <p:cNvSpPr/>
          <p:nvPr userDrawn="1"/>
        </p:nvSpPr>
        <p:spPr bwMode="auto">
          <a:xfrm flipH="1" flipV="1">
            <a:off x="4065588" y="-3"/>
            <a:ext cx="8126412" cy="6289715"/>
          </a:xfrm>
          <a:custGeom>
            <a:avLst/>
            <a:gdLst>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 name="connsiteX4" fmla="*/ 0 w 8126412"/>
              <a:gd name="connsiteY4" fmla="*/ 6289715 h 6289715"/>
              <a:gd name="connsiteX5" fmla="*/ 0 w 8126412"/>
              <a:gd name="connsiteY5" fmla="*/ 0 h 6289715"/>
              <a:gd name="connsiteX0" fmla="*/ 0 w 8126412"/>
              <a:gd name="connsiteY0" fmla="*/ 6289715 h 6381155"/>
              <a:gd name="connsiteX1" fmla="*/ 0 w 8126412"/>
              <a:gd name="connsiteY1" fmla="*/ 0 h 6381155"/>
              <a:gd name="connsiteX2" fmla="*/ 7846583 w 8126412"/>
              <a:gd name="connsiteY2" fmla="*/ 0 h 6381155"/>
              <a:gd name="connsiteX3" fmla="*/ 8126412 w 8126412"/>
              <a:gd name="connsiteY3" fmla="*/ 279829 h 6381155"/>
              <a:gd name="connsiteX4" fmla="*/ 8126412 w 8126412"/>
              <a:gd name="connsiteY4" fmla="*/ 6289715 h 6381155"/>
              <a:gd name="connsiteX5" fmla="*/ 91440 w 8126412"/>
              <a:gd name="connsiteY5" fmla="*/ 6381155 h 6381155"/>
              <a:gd name="connsiteX0" fmla="*/ 0 w 8126412"/>
              <a:gd name="connsiteY0" fmla="*/ 0 h 6381155"/>
              <a:gd name="connsiteX1" fmla="*/ 7846583 w 8126412"/>
              <a:gd name="connsiteY1" fmla="*/ 0 h 6381155"/>
              <a:gd name="connsiteX2" fmla="*/ 8126412 w 8126412"/>
              <a:gd name="connsiteY2" fmla="*/ 279829 h 6381155"/>
              <a:gd name="connsiteX3" fmla="*/ 8126412 w 8126412"/>
              <a:gd name="connsiteY3" fmla="*/ 6289715 h 6381155"/>
              <a:gd name="connsiteX4" fmla="*/ 91440 w 8126412"/>
              <a:gd name="connsiteY4" fmla="*/ 6381155 h 6381155"/>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Lst>
            <a:ahLst/>
            <a:cxnLst>
              <a:cxn ang="0">
                <a:pos x="connsiteX0" y="connsiteY0"/>
              </a:cxn>
              <a:cxn ang="0">
                <a:pos x="connsiteX1" y="connsiteY1"/>
              </a:cxn>
              <a:cxn ang="0">
                <a:pos x="connsiteX2" y="connsiteY2"/>
              </a:cxn>
              <a:cxn ang="0">
                <a:pos x="connsiteX3" y="connsiteY3"/>
              </a:cxn>
            </a:cxnLst>
            <a:rect l="l" t="t" r="r" b="b"/>
            <a:pathLst>
              <a:path w="8126412" h="6289715">
                <a:moveTo>
                  <a:pt x="0" y="0"/>
                </a:moveTo>
                <a:lnTo>
                  <a:pt x="7846583" y="0"/>
                </a:lnTo>
                <a:cubicBezTo>
                  <a:pt x="8001128" y="0"/>
                  <a:pt x="8126412" y="125284"/>
                  <a:pt x="8126412" y="279829"/>
                </a:cubicBezTo>
                <a:lnTo>
                  <a:pt x="8126412" y="6289715"/>
                </a:lnTo>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Picture 2" descr="A logo with a black background&#10;&#10;AI-generated content may be incorrect.">
            <a:extLst>
              <a:ext uri="{FF2B5EF4-FFF2-40B4-BE49-F238E27FC236}">
                <a16:creationId xmlns:a16="http://schemas.microsoft.com/office/drawing/2014/main" id="{9CECB29E-87D6-D1A6-3EE6-6F1B5B1CD4CC}"/>
              </a:ext>
            </a:extLst>
          </p:cNvPr>
          <p:cNvPicPr>
            <a:picLocks noChangeAspect="1"/>
          </p:cNvPicPr>
          <p:nvPr userDrawn="1"/>
        </p:nvPicPr>
        <p:blipFill>
          <a:blip r:embed="rId2"/>
          <a:srcRect l="36703" t="27623"/>
          <a:stretch/>
        </p:blipFill>
        <p:spPr>
          <a:xfrm>
            <a:off x="-1" y="0"/>
            <a:ext cx="3404843" cy="3893258"/>
          </a:xfrm>
          <a:prstGeom prst="rect">
            <a:avLst/>
          </a:prstGeom>
        </p:spPr>
      </p:pic>
    </p:spTree>
    <p:extLst>
      <p:ext uri="{BB962C8B-B14F-4D97-AF65-F5344CB8AC3E}">
        <p14:creationId xmlns:p14="http://schemas.microsoft.com/office/powerpoint/2010/main" val="63162107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C9F0F7-6EC2-B20A-117D-E4209A74FF12}"/>
              </a:ext>
            </a:extLst>
          </p:cNvPr>
          <p:cNvSpPr/>
          <p:nvPr userDrawn="1"/>
        </p:nvSpPr>
        <p:spPr>
          <a:xfrm rot="5400000">
            <a:off x="1374183" y="2075860"/>
            <a:ext cx="790582" cy="2706279"/>
          </a:xfrm>
          <a:prstGeom prst="roundRect">
            <a:avLst>
              <a:gd name="adj" fmla="val 500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626691" y="3152000"/>
            <a:ext cx="2285566" cy="553998"/>
          </a:xfrm>
        </p:spPr>
        <p:txBody>
          <a:bodyPr anchor="ctr"/>
          <a:lstStyle>
            <a:lvl1pPr algn="ctr">
              <a:defRPr>
                <a:gradFill>
                  <a:gsLst>
                    <a:gs pos="0">
                      <a:schemeClr val="tx2">
                        <a:lumMod val="50000"/>
                      </a:schemeClr>
                    </a:gs>
                    <a:gs pos="80000">
                      <a:schemeClr val="accent4"/>
                    </a:gs>
                    <a:gs pos="46000">
                      <a:schemeClr val="tx2"/>
                    </a:gs>
                  </a:gsLst>
                  <a:lin ang="13500000" scaled="1"/>
                </a:gradFill>
              </a:defRPr>
            </a:lvl1pPr>
          </a:lstStyle>
          <a:p>
            <a:r>
              <a:rPr lang="en-US"/>
              <a:t>Agenda</a:t>
            </a:r>
          </a:p>
        </p:txBody>
      </p:sp>
      <p:sp>
        <p:nvSpPr>
          <p:cNvPr id="120" name="Rectangle: Rounded Corners 119">
            <a:extLst>
              <a:ext uri="{FF2B5EF4-FFF2-40B4-BE49-F238E27FC236}">
                <a16:creationId xmlns:a16="http://schemas.microsoft.com/office/drawing/2014/main" id="{933020F6-E480-8A11-24C0-6B9CC5B163BC}"/>
              </a:ext>
            </a:extLst>
          </p:cNvPr>
          <p:cNvSpPr/>
          <p:nvPr userDrawn="1"/>
        </p:nvSpPr>
        <p:spPr bwMode="auto">
          <a:xfrm rot="10800000" flipH="1" flipV="1">
            <a:off x="4356099" y="585788"/>
            <a:ext cx="7264400" cy="5683250"/>
          </a:xfrm>
          <a:prstGeom prst="roundRect">
            <a:avLst>
              <a:gd name="adj" fmla="val 3387"/>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4" name="Text Placeholder 3">
            <a:extLst>
              <a:ext uri="{FF2B5EF4-FFF2-40B4-BE49-F238E27FC236}">
                <a16:creationId xmlns:a16="http://schemas.microsoft.com/office/drawing/2014/main" id="{4F23B1FC-F6DB-A951-8D43-3A5B31A61041}"/>
              </a:ext>
            </a:extLst>
          </p:cNvPr>
          <p:cNvSpPr>
            <a:spLocks noGrp="1"/>
          </p:cNvSpPr>
          <p:nvPr>
            <p:ph type="body" sz="quarter" idx="10" hasCustomPrompt="1"/>
          </p:nvPr>
        </p:nvSpPr>
        <p:spPr>
          <a:xfrm>
            <a:off x="4519613" y="981539"/>
            <a:ext cx="6936014" cy="276999"/>
          </a:xfrm>
        </p:spPr>
        <p:txBody>
          <a:bodyPr/>
          <a:lstStyle>
            <a:lvl1pPr marL="0" indent="0">
              <a:buNone/>
              <a:defRPr sz="1800"/>
            </a:lvl1pPr>
            <a:lvl2pPr marL="228600" indent="0">
              <a:buNone/>
              <a:defRPr/>
            </a:lvl2pPr>
          </a:lstStyle>
          <a:p>
            <a:pPr lvl="0"/>
            <a:r>
              <a:rPr lang="en-US"/>
              <a:t>Click to add text</a:t>
            </a:r>
          </a:p>
        </p:txBody>
      </p:sp>
      <p:sp>
        <p:nvSpPr>
          <p:cNvPr id="5" name="Text Placeholder 3">
            <a:extLst>
              <a:ext uri="{FF2B5EF4-FFF2-40B4-BE49-F238E27FC236}">
                <a16:creationId xmlns:a16="http://schemas.microsoft.com/office/drawing/2014/main" id="{E0B828B9-4E6B-16B4-DA4E-3B869FADC948}"/>
              </a:ext>
            </a:extLst>
          </p:cNvPr>
          <p:cNvSpPr>
            <a:spLocks noGrp="1"/>
          </p:cNvSpPr>
          <p:nvPr>
            <p:ph type="body" sz="quarter" idx="11" hasCustomPrompt="1"/>
          </p:nvPr>
        </p:nvSpPr>
        <p:spPr>
          <a:xfrm>
            <a:off x="4519613" y="1904489"/>
            <a:ext cx="6936014" cy="276999"/>
          </a:xfrm>
        </p:spPr>
        <p:txBody>
          <a:bodyPr/>
          <a:lstStyle>
            <a:lvl1pPr marL="0" indent="0">
              <a:buNone/>
              <a:defRPr sz="1800"/>
            </a:lvl1pPr>
            <a:lvl2pPr marL="228600" indent="0">
              <a:buNone/>
              <a:defRPr/>
            </a:lvl2pPr>
          </a:lstStyle>
          <a:p>
            <a:pPr lvl="0"/>
            <a:r>
              <a:rPr lang="en-US"/>
              <a:t>Click to add text</a:t>
            </a:r>
          </a:p>
        </p:txBody>
      </p:sp>
      <p:sp>
        <p:nvSpPr>
          <p:cNvPr id="7" name="Text Placeholder 3">
            <a:extLst>
              <a:ext uri="{FF2B5EF4-FFF2-40B4-BE49-F238E27FC236}">
                <a16:creationId xmlns:a16="http://schemas.microsoft.com/office/drawing/2014/main" id="{D74CB702-0EA1-542F-E8CA-63882AAB6EB3}"/>
              </a:ext>
            </a:extLst>
          </p:cNvPr>
          <p:cNvSpPr>
            <a:spLocks noGrp="1"/>
          </p:cNvSpPr>
          <p:nvPr>
            <p:ph type="body" sz="quarter" idx="12" hasCustomPrompt="1"/>
          </p:nvPr>
        </p:nvSpPr>
        <p:spPr>
          <a:xfrm>
            <a:off x="4519613" y="2827439"/>
            <a:ext cx="6936014" cy="276999"/>
          </a:xfrm>
        </p:spPr>
        <p:txBody>
          <a:bodyPr/>
          <a:lstStyle>
            <a:lvl1pPr marL="0" indent="0">
              <a:buNone/>
              <a:defRPr sz="1800"/>
            </a:lvl1pPr>
            <a:lvl2pPr marL="228600" indent="0">
              <a:buNone/>
              <a:defRPr/>
            </a:lvl2pPr>
          </a:lstStyle>
          <a:p>
            <a:pPr lvl="0"/>
            <a:r>
              <a:rPr lang="en-US"/>
              <a:t>Click to add text</a:t>
            </a:r>
          </a:p>
        </p:txBody>
      </p:sp>
      <p:sp>
        <p:nvSpPr>
          <p:cNvPr id="8" name="Text Placeholder 3">
            <a:extLst>
              <a:ext uri="{FF2B5EF4-FFF2-40B4-BE49-F238E27FC236}">
                <a16:creationId xmlns:a16="http://schemas.microsoft.com/office/drawing/2014/main" id="{9A9F8B7A-DFA1-84EF-2CBF-1B70386F8CED}"/>
              </a:ext>
            </a:extLst>
          </p:cNvPr>
          <p:cNvSpPr>
            <a:spLocks noGrp="1"/>
          </p:cNvSpPr>
          <p:nvPr>
            <p:ph type="body" sz="quarter" idx="13" hasCustomPrompt="1"/>
          </p:nvPr>
        </p:nvSpPr>
        <p:spPr>
          <a:xfrm>
            <a:off x="4519613" y="3750389"/>
            <a:ext cx="6936014" cy="276999"/>
          </a:xfrm>
        </p:spPr>
        <p:txBody>
          <a:bodyPr/>
          <a:lstStyle>
            <a:lvl1pPr marL="0" indent="0">
              <a:buNone/>
              <a:defRPr sz="1800"/>
            </a:lvl1pPr>
            <a:lvl2pPr marL="228600" indent="0">
              <a:buNone/>
              <a:defRPr/>
            </a:lvl2pPr>
          </a:lstStyle>
          <a:p>
            <a:pPr lvl="0"/>
            <a:r>
              <a:rPr lang="en-US"/>
              <a:t>Click to add text</a:t>
            </a:r>
          </a:p>
        </p:txBody>
      </p:sp>
      <p:sp>
        <p:nvSpPr>
          <p:cNvPr id="14" name="Text Placeholder 3">
            <a:extLst>
              <a:ext uri="{FF2B5EF4-FFF2-40B4-BE49-F238E27FC236}">
                <a16:creationId xmlns:a16="http://schemas.microsoft.com/office/drawing/2014/main" id="{9D301A2A-C8AB-BF1E-9F14-C896FCD998BD}"/>
              </a:ext>
            </a:extLst>
          </p:cNvPr>
          <p:cNvSpPr>
            <a:spLocks noGrp="1"/>
          </p:cNvSpPr>
          <p:nvPr>
            <p:ph type="body" sz="quarter" idx="14" hasCustomPrompt="1"/>
          </p:nvPr>
        </p:nvSpPr>
        <p:spPr>
          <a:xfrm>
            <a:off x="4519613" y="4673339"/>
            <a:ext cx="6936014" cy="276999"/>
          </a:xfrm>
        </p:spPr>
        <p:txBody>
          <a:bodyPr/>
          <a:lstStyle>
            <a:lvl1pPr marL="0" indent="0">
              <a:buNone/>
              <a:defRPr sz="1800"/>
            </a:lvl1pPr>
            <a:lvl2pPr marL="228600" indent="0">
              <a:buNone/>
              <a:defRPr/>
            </a:lvl2pPr>
          </a:lstStyle>
          <a:p>
            <a:pPr lvl="0"/>
            <a:r>
              <a:rPr lang="en-US"/>
              <a:t>Click to add text</a:t>
            </a:r>
          </a:p>
        </p:txBody>
      </p:sp>
      <p:sp>
        <p:nvSpPr>
          <p:cNvPr id="17" name="Text Placeholder 3">
            <a:extLst>
              <a:ext uri="{FF2B5EF4-FFF2-40B4-BE49-F238E27FC236}">
                <a16:creationId xmlns:a16="http://schemas.microsoft.com/office/drawing/2014/main" id="{D6B63B9E-D78B-52B3-F630-5E7AFC99A9DC}"/>
              </a:ext>
            </a:extLst>
          </p:cNvPr>
          <p:cNvSpPr>
            <a:spLocks noGrp="1"/>
          </p:cNvSpPr>
          <p:nvPr>
            <p:ph type="body" sz="quarter" idx="15" hasCustomPrompt="1"/>
          </p:nvPr>
        </p:nvSpPr>
        <p:spPr>
          <a:xfrm>
            <a:off x="4519613" y="5596288"/>
            <a:ext cx="6936014" cy="276999"/>
          </a:xfrm>
        </p:spPr>
        <p:txBody>
          <a:bodyPr/>
          <a:lstStyle>
            <a:lvl1pPr marL="0" indent="0">
              <a:buNone/>
              <a:defRPr sz="1800"/>
            </a:lvl1pPr>
            <a:lvl2pPr marL="228600" indent="0">
              <a:buNone/>
              <a:defRPr/>
            </a:lvl2pPr>
          </a:lstStyle>
          <a:p>
            <a:pPr lvl="0"/>
            <a:r>
              <a:rPr lang="en-US"/>
              <a:t>Click to add text</a:t>
            </a:r>
          </a:p>
        </p:txBody>
      </p:sp>
      <p:sp>
        <p:nvSpPr>
          <p:cNvPr id="18" name="Text Placeholder 3">
            <a:extLst>
              <a:ext uri="{FF2B5EF4-FFF2-40B4-BE49-F238E27FC236}">
                <a16:creationId xmlns:a16="http://schemas.microsoft.com/office/drawing/2014/main" id="{E1C582BF-25CD-AFD5-A441-B340181D1581}"/>
              </a:ext>
            </a:extLst>
          </p:cNvPr>
          <p:cNvSpPr>
            <a:spLocks noGrp="1"/>
          </p:cNvSpPr>
          <p:nvPr>
            <p:ph type="body" sz="quarter" idx="16" hasCustomPrompt="1"/>
          </p:nvPr>
        </p:nvSpPr>
        <p:spPr>
          <a:xfrm>
            <a:off x="3475262" y="8437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20" name="Text Placeholder 3">
            <a:extLst>
              <a:ext uri="{FF2B5EF4-FFF2-40B4-BE49-F238E27FC236}">
                <a16:creationId xmlns:a16="http://schemas.microsoft.com/office/drawing/2014/main" id="{D58A6651-83A2-4FDE-9EE8-C9F73C85BBA4}"/>
              </a:ext>
            </a:extLst>
          </p:cNvPr>
          <p:cNvSpPr>
            <a:spLocks noGrp="1"/>
          </p:cNvSpPr>
          <p:nvPr>
            <p:ph type="body" sz="quarter" idx="17" hasCustomPrompt="1"/>
          </p:nvPr>
        </p:nvSpPr>
        <p:spPr>
          <a:xfrm>
            <a:off x="3475262" y="17667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1" name="Text Placeholder 3">
            <a:extLst>
              <a:ext uri="{FF2B5EF4-FFF2-40B4-BE49-F238E27FC236}">
                <a16:creationId xmlns:a16="http://schemas.microsoft.com/office/drawing/2014/main" id="{898E7064-EB39-21D4-8EB3-44B8E662F088}"/>
              </a:ext>
            </a:extLst>
          </p:cNvPr>
          <p:cNvSpPr>
            <a:spLocks noGrp="1"/>
          </p:cNvSpPr>
          <p:nvPr>
            <p:ph type="body" sz="quarter" idx="18" hasCustomPrompt="1"/>
          </p:nvPr>
        </p:nvSpPr>
        <p:spPr>
          <a:xfrm>
            <a:off x="3475262" y="26896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2" name="Text Placeholder 3">
            <a:extLst>
              <a:ext uri="{FF2B5EF4-FFF2-40B4-BE49-F238E27FC236}">
                <a16:creationId xmlns:a16="http://schemas.microsoft.com/office/drawing/2014/main" id="{C75E5FCA-0817-2FF8-A4ED-10EAA0763B96}"/>
              </a:ext>
            </a:extLst>
          </p:cNvPr>
          <p:cNvSpPr>
            <a:spLocks noGrp="1"/>
          </p:cNvSpPr>
          <p:nvPr>
            <p:ph type="body" sz="quarter" idx="19" hasCustomPrompt="1"/>
          </p:nvPr>
        </p:nvSpPr>
        <p:spPr>
          <a:xfrm>
            <a:off x="3475262" y="36126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3" name="Text Placeholder 3">
            <a:extLst>
              <a:ext uri="{FF2B5EF4-FFF2-40B4-BE49-F238E27FC236}">
                <a16:creationId xmlns:a16="http://schemas.microsoft.com/office/drawing/2014/main" id="{BA332009-79C4-DCCE-9B59-92DED15FBB7D}"/>
              </a:ext>
            </a:extLst>
          </p:cNvPr>
          <p:cNvSpPr>
            <a:spLocks noGrp="1"/>
          </p:cNvSpPr>
          <p:nvPr>
            <p:ph type="body" sz="quarter" idx="20" hasCustomPrompt="1"/>
          </p:nvPr>
        </p:nvSpPr>
        <p:spPr>
          <a:xfrm>
            <a:off x="3475262" y="45355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4" name="Text Placeholder 3">
            <a:extLst>
              <a:ext uri="{FF2B5EF4-FFF2-40B4-BE49-F238E27FC236}">
                <a16:creationId xmlns:a16="http://schemas.microsoft.com/office/drawing/2014/main" id="{DFB14306-DD8B-5B21-867F-C2384E91B426}"/>
              </a:ext>
            </a:extLst>
          </p:cNvPr>
          <p:cNvSpPr>
            <a:spLocks noGrp="1"/>
          </p:cNvSpPr>
          <p:nvPr>
            <p:ph type="body" sz="quarter" idx="21" hasCustomPrompt="1"/>
          </p:nvPr>
        </p:nvSpPr>
        <p:spPr>
          <a:xfrm>
            <a:off x="3475262" y="5458514"/>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Tree>
    <p:extLst>
      <p:ext uri="{BB962C8B-B14F-4D97-AF65-F5344CB8AC3E}">
        <p14:creationId xmlns:p14="http://schemas.microsoft.com/office/powerpoint/2010/main" val="3793590280"/>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51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6014B8A-0BF9-32DE-FF0E-08947B1E697A}"/>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520877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C1F22C-2B1A-F6F0-294E-A5EF9CCFED6E}"/>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 name="Rectangle: Rounded Corners 2">
            <a:extLst>
              <a:ext uri="{FF2B5EF4-FFF2-40B4-BE49-F238E27FC236}">
                <a16:creationId xmlns:a16="http://schemas.microsoft.com/office/drawing/2014/main" id="{9405749C-C9B4-C521-8C9B-11C31335193D}"/>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9" name="Rectangle: Rounded Corners 8">
            <a:extLst>
              <a:ext uri="{FF2B5EF4-FFF2-40B4-BE49-F238E27FC236}">
                <a16:creationId xmlns:a16="http://schemas.microsoft.com/office/drawing/2014/main" id="{6E17841F-0E6D-8C6C-F881-8C74D0940C00}"/>
              </a:ext>
            </a:extLst>
          </p:cNvPr>
          <p:cNvSpPr/>
          <p:nvPr userDrawn="1"/>
        </p:nvSpPr>
        <p:spPr bwMode="auto">
          <a:xfrm rot="10800000" flipH="1" flipV="1">
            <a:off x="584200" y="1436687"/>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4" name="Rectangle: Rounded Corners 3">
            <a:extLst>
              <a:ext uri="{FF2B5EF4-FFF2-40B4-BE49-F238E27FC236}">
                <a16:creationId xmlns:a16="http://schemas.microsoft.com/office/drawing/2014/main" id="{71308E59-3ACE-64FB-C5EE-5AAAF9A10072}"/>
              </a:ext>
            </a:extLst>
          </p:cNvPr>
          <p:cNvSpPr/>
          <p:nvPr userDrawn="1"/>
        </p:nvSpPr>
        <p:spPr bwMode="auto">
          <a:xfrm rot="10800000" flipH="1" flipV="1">
            <a:off x="6397625" y="1436688"/>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7A78A194-45FE-72BA-5A7A-9D3CBAD69248}"/>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7">
            <a:extLst>
              <a:ext uri="{FF2B5EF4-FFF2-40B4-BE49-F238E27FC236}">
                <a16:creationId xmlns:a16="http://schemas.microsoft.com/office/drawing/2014/main" id="{6645A37A-FA23-4EE3-A9F0-CF8A27E9980E}"/>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6797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mputer slide_blac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627182-25F3-985C-C7BF-D8AFBD4C8DA6}"/>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22C7F341-B199-A0F1-2E33-BC41D9BB8BF8}"/>
              </a:ext>
            </a:extLst>
          </p:cNvPr>
          <p:cNvGrpSpPr/>
          <p:nvPr userDrawn="1"/>
        </p:nvGrpSpPr>
        <p:grpSpPr>
          <a:xfrm>
            <a:off x="6339102" y="-734994"/>
            <a:ext cx="7322981" cy="6854735"/>
            <a:chOff x="6339102" y="-734994"/>
            <a:chExt cx="7322981" cy="6854735"/>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grpSp>
      <p:pic>
        <p:nvPicPr>
          <p:cNvPr id="12" name="Picture 11" descr="A logo with a black background&#10;&#10;AI-generated content may be incorrect.">
            <a:extLst>
              <a:ext uri="{FF2B5EF4-FFF2-40B4-BE49-F238E27FC236}">
                <a16:creationId xmlns:a16="http://schemas.microsoft.com/office/drawing/2014/main" id="{1479FD39-8E5D-B724-F106-AD191884EF3D}"/>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5469"/>
          <a:stretch>
            <a:fillRect/>
          </a:stretch>
        </p:blipFill>
        <p:spPr>
          <a:xfrm>
            <a:off x="1577526" y="-293687"/>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3">
            <a:extLst>
              <a:ext uri="{28A0092B-C50C-407E-A947-70E740481C1C}">
                <a14:useLocalDpi xmlns:a14="http://schemas.microsoft.com/office/drawing/2010/main" val="0"/>
              </a:ext>
            </a:extLst>
          </a:blip>
          <a:srcRect l="5810" t="781" r="18604" b="40712"/>
          <a:stretch>
            <a:fillRect/>
          </a:stretch>
        </p:blipFill>
        <p:spPr>
          <a:xfrm>
            <a:off x="2333172" y="376341"/>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sp>
        <p:nvSpPr>
          <p:cNvPr id="11" name="Picture Placeholder 3">
            <a:extLst>
              <a:ext uri="{FF2B5EF4-FFF2-40B4-BE49-F238E27FC236}">
                <a16:creationId xmlns:a16="http://schemas.microsoft.com/office/drawing/2014/main" id="{26B46093-466F-5728-35CE-BC376C4CF9CA}"/>
              </a:ext>
            </a:extLst>
          </p:cNvPr>
          <p:cNvSpPr>
            <a:spLocks noGrp="1"/>
          </p:cNvSpPr>
          <p:nvPr>
            <p:ph type="pic" sz="quarter" idx="12"/>
          </p:nvPr>
        </p:nvSpPr>
        <p:spPr>
          <a:xfrm>
            <a:off x="4895850" y="1622198"/>
            <a:ext cx="6381749" cy="3592740"/>
          </a:xfrm>
          <a:solidFill>
            <a:schemeClr val="accent1"/>
          </a:solidFill>
        </p:spPr>
        <p:txBody>
          <a:bodyPr tIns="0" bIns="1005840"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1187705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mputer slide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AF024-DF0F-6F4E-B648-CC17470CF719}"/>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0783932-2FAF-F03E-0C6C-AE9D2DA2D4FF}"/>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0A44E0DE-A4E5-69A5-4033-A8026EE10B35}"/>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7" name="Picture 6" descr="A logo with a black background&#10;&#10;AI-generated content may be incorrect.">
            <a:extLst>
              <a:ext uri="{FF2B5EF4-FFF2-40B4-BE49-F238E27FC236}">
                <a16:creationId xmlns:a16="http://schemas.microsoft.com/office/drawing/2014/main" id="{CCA15DD8-9FE3-CEEE-71DE-4F8B8B7F845C}"/>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65046"/>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26941"/>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3" name="Picture Placeholder 3">
            <a:extLst>
              <a:ext uri="{FF2B5EF4-FFF2-40B4-BE49-F238E27FC236}">
                <a16:creationId xmlns:a16="http://schemas.microsoft.com/office/drawing/2014/main" id="{E3B3B89C-2AB1-C186-B0D3-3C8E3F7E5D83}"/>
              </a:ext>
            </a:extLst>
          </p:cNvPr>
          <p:cNvSpPr>
            <a:spLocks noGrp="1"/>
          </p:cNvSpPr>
          <p:nvPr userDrawn="1">
            <p:ph type="pic" sz="quarter" idx="12"/>
          </p:nvPr>
        </p:nvSpPr>
        <p:spPr>
          <a:xfrm>
            <a:off x="4895851" y="1622880"/>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6BA2998A-0C85-2B3D-B1D2-E72F406F4E7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7422591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 name="Picture 5" descr="A logo with a black background&#10;&#10;AI-generated content may be incorrect.">
            <a:extLst>
              <a:ext uri="{FF2B5EF4-FFF2-40B4-BE49-F238E27FC236}">
                <a16:creationId xmlns:a16="http://schemas.microsoft.com/office/drawing/2014/main" id="{E8B303BC-83F0-A58E-77F4-B3D10283D2AA}"/>
              </a:ext>
            </a:extLst>
          </p:cNvPr>
          <p:cNvPicPr>
            <a:picLocks noChangeAspect="1"/>
          </p:cNvPicPr>
          <p:nvPr userDrawn="1"/>
        </p:nvPicPr>
        <p:blipFill>
          <a:blip r:embed="rId3"/>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15679"/>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691640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mputer slide_Light_Grey">
    <p:bg>
      <p:bgRef idx="1001">
        <a:schemeClr val="bg1"/>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C388186-ABC7-41BF-4BB1-AFBE284C8A6D}"/>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24FA7DCC-EB71-5F85-BF43-EA7FA6317F7B}"/>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5000">
                      <a:schemeClr val="tx2"/>
                    </a:gs>
                    <a:gs pos="100000">
                      <a:schemeClr val="accent4"/>
                    </a:gs>
                  </a:gsLst>
                  <a:path path="circle">
                    <a:fillToRect l="100000" t="100000"/>
                  </a:path>
                </a:gradFill>
              </a:defRPr>
            </a:lvl1pPr>
          </a:lstStyle>
          <a:p>
            <a:r>
              <a:rPr lang="en-US"/>
              <a:t>Click to edit Master title style</a:t>
            </a:r>
          </a:p>
        </p:txBody>
      </p:sp>
      <p:pic>
        <p:nvPicPr>
          <p:cNvPr id="4" name="Picture 3" descr="A logo with a black background&#10;&#10;AI-generated content may be incorrect.">
            <a:extLst>
              <a:ext uri="{FF2B5EF4-FFF2-40B4-BE49-F238E27FC236}">
                <a16:creationId xmlns:a16="http://schemas.microsoft.com/office/drawing/2014/main" id="{7B278159-A364-F70A-B087-EA8061A3D967}"/>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76670"/>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38565"/>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11" name="Picture Placeholder 3">
            <a:extLst>
              <a:ext uri="{FF2B5EF4-FFF2-40B4-BE49-F238E27FC236}">
                <a16:creationId xmlns:a16="http://schemas.microsoft.com/office/drawing/2014/main" id="{323A1DFD-1FF8-E907-5F33-71FC81529B15}"/>
              </a:ext>
            </a:extLst>
          </p:cNvPr>
          <p:cNvSpPr>
            <a:spLocks noGrp="1"/>
          </p:cNvSpPr>
          <p:nvPr>
            <p:ph type="pic" sz="quarter" idx="12"/>
          </p:nvPr>
        </p:nvSpPr>
        <p:spPr>
          <a:xfrm>
            <a:off x="4895851" y="1634504"/>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4013514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mputer slide_Light_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3579425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8" name="Picture 7" descr="A logo with a black background&#10;&#10;AI-generated content may be incorrect.">
            <a:extLst>
              <a:ext uri="{FF2B5EF4-FFF2-40B4-BE49-F238E27FC236}">
                <a16:creationId xmlns:a16="http://schemas.microsoft.com/office/drawing/2014/main" id="{18806773-0AA2-012D-F2A6-DDA3C9F7993C}"/>
              </a:ext>
            </a:extLst>
          </p:cNvPr>
          <p:cNvPicPr>
            <a:picLocks noChangeAspect="1"/>
          </p:cNvPicPr>
          <p:nvPr userDrawn="1"/>
        </p:nvPicPr>
        <p:blipFill>
          <a:blip r:embed="rId2"/>
          <a:srcRect r="-1583" b="34739"/>
          <a:stretch/>
        </p:blipFill>
        <p:spPr>
          <a:xfrm>
            <a:off x="2927965" y="2787375"/>
            <a:ext cx="6336070" cy="4070625"/>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1974B584-028F-0694-09FF-1D5F4F8274BE}"/>
              </a:ext>
            </a:extLst>
          </p:cNvPr>
          <p:cNvSpPr>
            <a:spLocks/>
          </p:cNvSpPr>
          <p:nvPr userDrawn="1"/>
        </p:nvSpPr>
        <p:spPr bwMode="auto">
          <a:xfrm rot="5400000" flipH="1" flipV="1">
            <a:off x="5756277" y="-166690"/>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4344336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lumMod val="75000"/>
                      </a:schemeClr>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5756275" y="-165101"/>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87673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Frame Slide_Light outlin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5942012" y="-103190"/>
            <a:ext cx="5438778"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Rectangle: Top Corners Rounded 4">
            <a:extLst>
              <a:ext uri="{FF2B5EF4-FFF2-40B4-BE49-F238E27FC236}">
                <a16:creationId xmlns:a16="http://schemas.microsoft.com/office/drawing/2014/main" id="{B06A9C3B-F449-1EAF-6BA4-A24E6F6EA320}"/>
              </a:ext>
            </a:extLst>
          </p:cNvPr>
          <p:cNvSpPr>
            <a:spLocks/>
          </p:cNvSpPr>
          <p:nvPr userDrawn="1"/>
        </p:nvSpPr>
        <p:spPr bwMode="auto">
          <a:xfrm rot="5400000" flipH="1" flipV="1">
            <a:off x="5756277" y="-166690"/>
            <a:ext cx="5683248" cy="7188202"/>
          </a:xfrm>
          <a:prstGeom prst="round2SameRect">
            <a:avLst>
              <a:gd name="adj1" fmla="val 3259"/>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err="1">
              <a:gradFill>
                <a:gsLst>
                  <a:gs pos="0">
                    <a:schemeClr val="accent3"/>
                  </a:gs>
                  <a:gs pos="67000">
                    <a:schemeClr val="accent1"/>
                  </a:gs>
                  <a:gs pos="100000">
                    <a:schemeClr val="accent5"/>
                  </a:gs>
                </a:gsLst>
                <a:lin ang="5400000" scaled="1"/>
              </a:gradFill>
              <a:latin typeface="+mj-lt"/>
            </a:endParaRPr>
          </a:p>
        </p:txBody>
      </p:sp>
    </p:spTree>
    <p:extLst>
      <p:ext uri="{BB962C8B-B14F-4D97-AF65-F5344CB8AC3E}">
        <p14:creationId xmlns:p14="http://schemas.microsoft.com/office/powerpoint/2010/main" val="3456503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hin 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15" name="Picture 14" descr="A logo with a black background&#10;&#10;AI-generated content may be incorrect.">
            <a:extLst>
              <a:ext uri="{FF2B5EF4-FFF2-40B4-BE49-F238E27FC236}">
                <a16:creationId xmlns:a16="http://schemas.microsoft.com/office/drawing/2014/main" id="{F1877FF7-E491-6286-A2EF-4674A5DD2FBC}"/>
              </a:ext>
            </a:extLst>
          </p:cNvPr>
          <p:cNvPicPr>
            <a:picLocks noChangeAspect="1"/>
          </p:cNvPicPr>
          <p:nvPr userDrawn="1"/>
        </p:nvPicPr>
        <p:blipFill>
          <a:blip r:embed="rId2"/>
          <a:srcRect l="-1" t="43929" r="29611" b="3238"/>
          <a:stretch/>
        </p:blipFill>
        <p:spPr>
          <a:xfrm>
            <a:off x="7978140" y="-1881"/>
            <a:ext cx="4213860" cy="3162883"/>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6" name="Rectangle: Top Corners Rounded 5">
            <a:extLst>
              <a:ext uri="{FF2B5EF4-FFF2-40B4-BE49-F238E27FC236}">
                <a16:creationId xmlns:a16="http://schemas.microsoft.com/office/drawing/2014/main" id="{AB8C3002-1EF7-6E38-848D-BF7CD8D3E0D6}"/>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3572333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hin 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7542956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9073610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p:txBody>
          <a:bodyPr/>
          <a:lstStyle/>
          <a:p>
            <a:r>
              <a:rPr lang="en-US"/>
              <a:t>General Business Central resources</a:t>
            </a:r>
          </a:p>
        </p:txBody>
      </p:sp>
      <p:sp>
        <p:nvSpPr>
          <p:cNvPr id="16" name="Rectangle: Rounded Corners 15">
            <a:extLst>
              <a:ext uri="{FF2B5EF4-FFF2-40B4-BE49-F238E27FC236}">
                <a16:creationId xmlns:a16="http://schemas.microsoft.com/office/drawing/2014/main" id="{CF7B64D5-8AE6-7D79-ADEE-79DBF5380BB1}"/>
              </a:ext>
              <a:ext uri="{C183D7F6-B498-43B3-948B-1728B52AA6E4}">
                <adec:decorative xmlns:adec="http://schemas.microsoft.com/office/drawing/2017/decorative" val="1"/>
              </a:ext>
            </a:extLst>
          </p:cNvPr>
          <p:cNvSpPr>
            <a:spLocks/>
          </p:cNvSpPr>
          <p:nvPr userDrawn="1"/>
        </p:nvSpPr>
        <p:spPr bwMode="auto">
          <a:xfrm>
            <a:off x="571499" y="2017713"/>
            <a:ext cx="11049002" cy="4251326"/>
          </a:xfrm>
          <a:prstGeom prst="roundRect">
            <a:avLst>
              <a:gd name="adj" fmla="val 6090"/>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965F8B08-BC71-97CE-9DAF-55ED0EAA1B87}"/>
              </a:ext>
              <a:ext uri="{C183D7F6-B498-43B3-948B-1728B52AA6E4}">
                <adec:decorative xmlns:adec="http://schemas.microsoft.com/office/drawing/2017/decorative" val="1"/>
              </a:ext>
            </a:extLst>
          </p:cNvPr>
          <p:cNvSpPr>
            <a:spLocks/>
          </p:cNvSpPr>
          <p:nvPr userDrawn="1"/>
        </p:nvSpPr>
        <p:spPr bwMode="auto">
          <a:xfrm>
            <a:off x="647577" y="2117381"/>
            <a:ext cx="10896847" cy="4076249"/>
          </a:xfrm>
          <a:prstGeom prst="roundRect">
            <a:avLst>
              <a:gd name="adj" fmla="val 5311"/>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10" name="Text Placeholder 13">
            <a:extLst>
              <a:ext uri="{FF2B5EF4-FFF2-40B4-BE49-F238E27FC236}">
                <a16:creationId xmlns:a16="http://schemas.microsoft.com/office/drawing/2014/main" id="{065BC4FB-2BD8-73DD-D114-94FEE8E84DD9}"/>
              </a:ext>
            </a:extLst>
          </p:cNvPr>
          <p:cNvSpPr>
            <a:spLocks noGrp="1"/>
          </p:cNvSpPr>
          <p:nvPr>
            <p:ph type="body" sz="quarter" idx="11" hasCustomPrompt="1"/>
          </p:nvPr>
        </p:nvSpPr>
        <p:spPr>
          <a:xfrm>
            <a:off x="1885346"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1" name="Text Placeholder 13">
            <a:extLst>
              <a:ext uri="{FF2B5EF4-FFF2-40B4-BE49-F238E27FC236}">
                <a16:creationId xmlns:a16="http://schemas.microsoft.com/office/drawing/2014/main" id="{B51AD683-64D9-79C8-A8BF-1C1B516D9DA3}"/>
              </a:ext>
            </a:extLst>
          </p:cNvPr>
          <p:cNvSpPr>
            <a:spLocks noGrp="1"/>
          </p:cNvSpPr>
          <p:nvPr>
            <p:ph type="body" sz="quarter" idx="12" hasCustomPrompt="1"/>
          </p:nvPr>
        </p:nvSpPr>
        <p:spPr>
          <a:xfrm>
            <a:off x="1885346"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2" name="Text Placeholder 13">
            <a:extLst>
              <a:ext uri="{FF2B5EF4-FFF2-40B4-BE49-F238E27FC236}">
                <a16:creationId xmlns:a16="http://schemas.microsoft.com/office/drawing/2014/main" id="{0A6DAB6E-BB98-F1B3-A857-CABB8D99880A}"/>
              </a:ext>
            </a:extLst>
          </p:cNvPr>
          <p:cNvSpPr>
            <a:spLocks noGrp="1"/>
          </p:cNvSpPr>
          <p:nvPr>
            <p:ph type="body" sz="quarter" idx="13" hasCustomPrompt="1"/>
          </p:nvPr>
        </p:nvSpPr>
        <p:spPr>
          <a:xfrm>
            <a:off x="7213558"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3" name="Text Placeholder 13">
            <a:extLst>
              <a:ext uri="{FF2B5EF4-FFF2-40B4-BE49-F238E27FC236}">
                <a16:creationId xmlns:a16="http://schemas.microsoft.com/office/drawing/2014/main" id="{219E5293-A4F4-9FB0-A47D-0D434317B505}"/>
              </a:ext>
            </a:extLst>
          </p:cNvPr>
          <p:cNvSpPr>
            <a:spLocks noGrp="1"/>
          </p:cNvSpPr>
          <p:nvPr>
            <p:ph type="body" sz="quarter" idx="14" hasCustomPrompt="1"/>
          </p:nvPr>
        </p:nvSpPr>
        <p:spPr>
          <a:xfrm>
            <a:off x="7213558"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7" name="Text Placeholder 13">
            <a:extLst>
              <a:ext uri="{FF2B5EF4-FFF2-40B4-BE49-F238E27FC236}">
                <a16:creationId xmlns:a16="http://schemas.microsoft.com/office/drawing/2014/main" id="{44D8D693-3A66-DCE0-DFE1-A58F6C6F39C2}"/>
              </a:ext>
            </a:extLst>
          </p:cNvPr>
          <p:cNvSpPr>
            <a:spLocks noGrp="1"/>
          </p:cNvSpPr>
          <p:nvPr>
            <p:ph type="body" sz="quarter" idx="15" hasCustomPrompt="1"/>
          </p:nvPr>
        </p:nvSpPr>
        <p:spPr>
          <a:xfrm>
            <a:off x="1885346"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9" name="Text Placeholder 13">
            <a:extLst>
              <a:ext uri="{FF2B5EF4-FFF2-40B4-BE49-F238E27FC236}">
                <a16:creationId xmlns:a16="http://schemas.microsoft.com/office/drawing/2014/main" id="{FB49901B-AA18-5AD0-1782-D7398FA606D5}"/>
              </a:ext>
            </a:extLst>
          </p:cNvPr>
          <p:cNvSpPr>
            <a:spLocks noGrp="1"/>
          </p:cNvSpPr>
          <p:nvPr>
            <p:ph type="body" sz="quarter" idx="16" hasCustomPrompt="1"/>
          </p:nvPr>
        </p:nvSpPr>
        <p:spPr>
          <a:xfrm>
            <a:off x="1885346"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0" name="Text Placeholder 13">
            <a:extLst>
              <a:ext uri="{FF2B5EF4-FFF2-40B4-BE49-F238E27FC236}">
                <a16:creationId xmlns:a16="http://schemas.microsoft.com/office/drawing/2014/main" id="{1637A203-2087-3947-0DDD-FDA5D6CF2EE0}"/>
              </a:ext>
            </a:extLst>
          </p:cNvPr>
          <p:cNvSpPr>
            <a:spLocks noGrp="1"/>
          </p:cNvSpPr>
          <p:nvPr>
            <p:ph type="body" sz="quarter" idx="17" hasCustomPrompt="1"/>
          </p:nvPr>
        </p:nvSpPr>
        <p:spPr>
          <a:xfrm>
            <a:off x="1885346"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1" name="Text Placeholder 13">
            <a:extLst>
              <a:ext uri="{FF2B5EF4-FFF2-40B4-BE49-F238E27FC236}">
                <a16:creationId xmlns:a16="http://schemas.microsoft.com/office/drawing/2014/main" id="{96B2A2E8-8453-C099-8347-C64741812B0F}"/>
              </a:ext>
            </a:extLst>
          </p:cNvPr>
          <p:cNvSpPr>
            <a:spLocks noGrp="1"/>
          </p:cNvSpPr>
          <p:nvPr>
            <p:ph type="body" sz="quarter" idx="18" hasCustomPrompt="1"/>
          </p:nvPr>
        </p:nvSpPr>
        <p:spPr>
          <a:xfrm>
            <a:off x="1885346"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2" name="Text Placeholder 13">
            <a:extLst>
              <a:ext uri="{FF2B5EF4-FFF2-40B4-BE49-F238E27FC236}">
                <a16:creationId xmlns:a16="http://schemas.microsoft.com/office/drawing/2014/main" id="{185CE928-3A09-AB32-82A8-5593DC9FC0B2}"/>
              </a:ext>
            </a:extLst>
          </p:cNvPr>
          <p:cNvSpPr>
            <a:spLocks noGrp="1"/>
          </p:cNvSpPr>
          <p:nvPr>
            <p:ph type="body" sz="quarter" idx="19" hasCustomPrompt="1"/>
          </p:nvPr>
        </p:nvSpPr>
        <p:spPr>
          <a:xfrm>
            <a:off x="7213557"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3" name="Text Placeholder 13">
            <a:extLst>
              <a:ext uri="{FF2B5EF4-FFF2-40B4-BE49-F238E27FC236}">
                <a16:creationId xmlns:a16="http://schemas.microsoft.com/office/drawing/2014/main" id="{EC007CE8-F370-632E-E76B-27712AE98F27}"/>
              </a:ext>
            </a:extLst>
          </p:cNvPr>
          <p:cNvSpPr>
            <a:spLocks noGrp="1"/>
          </p:cNvSpPr>
          <p:nvPr>
            <p:ph type="body" sz="quarter" idx="20" hasCustomPrompt="1"/>
          </p:nvPr>
        </p:nvSpPr>
        <p:spPr>
          <a:xfrm>
            <a:off x="7213557"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4" name="Text Placeholder 13">
            <a:extLst>
              <a:ext uri="{FF2B5EF4-FFF2-40B4-BE49-F238E27FC236}">
                <a16:creationId xmlns:a16="http://schemas.microsoft.com/office/drawing/2014/main" id="{27DF75B9-DBC4-0C40-369C-05AA648D36AE}"/>
              </a:ext>
            </a:extLst>
          </p:cNvPr>
          <p:cNvSpPr>
            <a:spLocks noGrp="1"/>
          </p:cNvSpPr>
          <p:nvPr>
            <p:ph type="body" sz="quarter" idx="21" hasCustomPrompt="1"/>
          </p:nvPr>
        </p:nvSpPr>
        <p:spPr>
          <a:xfrm>
            <a:off x="7213557"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5" name="Text Placeholder 13">
            <a:extLst>
              <a:ext uri="{FF2B5EF4-FFF2-40B4-BE49-F238E27FC236}">
                <a16:creationId xmlns:a16="http://schemas.microsoft.com/office/drawing/2014/main" id="{67C2ADD1-79D4-2CC5-4B45-8588E826E4C4}"/>
              </a:ext>
            </a:extLst>
          </p:cNvPr>
          <p:cNvSpPr>
            <a:spLocks noGrp="1"/>
          </p:cNvSpPr>
          <p:nvPr>
            <p:ph type="body" sz="quarter" idx="22" hasCustomPrompt="1"/>
          </p:nvPr>
        </p:nvSpPr>
        <p:spPr>
          <a:xfrm>
            <a:off x="7213557"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175420836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a:xfrm>
            <a:off x="588263" y="2188660"/>
            <a:ext cx="3774187" cy="1107996"/>
          </a:xfrm>
        </p:spPr>
        <p:txBody>
          <a:bodyPr lIns="0" tIns="0" rIns="0" bIns="0"/>
          <a:lstStyle/>
          <a:p>
            <a:r>
              <a:rPr lang="en-US"/>
              <a:t>General Business Central resources</a:t>
            </a:r>
          </a:p>
        </p:txBody>
      </p:sp>
      <p:sp>
        <p:nvSpPr>
          <p:cNvPr id="6" name="Freeform: Shape 5">
            <a:extLst>
              <a:ext uri="{FF2B5EF4-FFF2-40B4-BE49-F238E27FC236}">
                <a16:creationId xmlns:a16="http://schemas.microsoft.com/office/drawing/2014/main" id="{10F44ECF-ABF8-FB29-8A89-8CACFFF99227}"/>
              </a:ext>
              <a:ext uri="{C183D7F6-B498-43B3-948B-1728B52AA6E4}">
                <adec:decorative xmlns:adec="http://schemas.microsoft.com/office/drawing/2017/decorative" val="1"/>
              </a:ext>
            </a:extLst>
          </p:cNvPr>
          <p:cNvSpPr>
            <a:spLocks/>
          </p:cNvSpPr>
          <p:nvPr userDrawn="1"/>
        </p:nvSpPr>
        <p:spPr bwMode="auto">
          <a:xfrm>
            <a:off x="4612384" y="0"/>
            <a:ext cx="7579616" cy="6269039"/>
          </a:xfrm>
          <a:custGeom>
            <a:avLst/>
            <a:gdLst>
              <a:gd name="connsiteX0" fmla="*/ 0 w 7579616"/>
              <a:gd name="connsiteY0" fmla="*/ 0 h 6269039"/>
              <a:gd name="connsiteX1" fmla="*/ 7579616 w 7579616"/>
              <a:gd name="connsiteY1" fmla="*/ 0 h 6269039"/>
              <a:gd name="connsiteX2" fmla="*/ 7579616 w 7579616"/>
              <a:gd name="connsiteY2" fmla="*/ 6269039 h 6269039"/>
              <a:gd name="connsiteX3" fmla="*/ 422389 w 7579616"/>
              <a:gd name="connsiteY3" fmla="*/ 6269039 h 6269039"/>
              <a:gd name="connsiteX4" fmla="*/ 0 w 7579616"/>
              <a:gd name="connsiteY4" fmla="*/ 5846649 h 6269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16" h="6269039">
                <a:moveTo>
                  <a:pt x="0" y="0"/>
                </a:moveTo>
                <a:lnTo>
                  <a:pt x="7579616" y="0"/>
                </a:lnTo>
                <a:lnTo>
                  <a:pt x="7579616" y="6269039"/>
                </a:lnTo>
                <a:lnTo>
                  <a:pt x="422389" y="6269039"/>
                </a:lnTo>
                <a:cubicBezTo>
                  <a:pt x="189109" y="6269039"/>
                  <a:pt x="0" y="6079929"/>
                  <a:pt x="0" y="5846649"/>
                </a:cubicBezTo>
                <a:close/>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2518DCF-8BAB-BF01-2CA5-31C12CE94F5C}"/>
              </a:ext>
              <a:ext uri="{C183D7F6-B498-43B3-948B-1728B52AA6E4}">
                <adec:decorative xmlns:adec="http://schemas.microsoft.com/office/drawing/2017/decorative" val="1"/>
              </a:ext>
            </a:extLst>
          </p:cNvPr>
          <p:cNvSpPr>
            <a:spLocks/>
          </p:cNvSpPr>
          <p:nvPr userDrawn="1"/>
        </p:nvSpPr>
        <p:spPr bwMode="auto">
          <a:xfrm>
            <a:off x="4688461" y="1"/>
            <a:ext cx="7503539" cy="6193631"/>
          </a:xfrm>
          <a:custGeom>
            <a:avLst/>
            <a:gdLst>
              <a:gd name="connsiteX0" fmla="*/ 0 w 7503539"/>
              <a:gd name="connsiteY0" fmla="*/ 0 h 6193631"/>
              <a:gd name="connsiteX1" fmla="*/ 7503539 w 7503539"/>
              <a:gd name="connsiteY1" fmla="*/ 0 h 6193631"/>
              <a:gd name="connsiteX2" fmla="*/ 7503539 w 7503539"/>
              <a:gd name="connsiteY2" fmla="*/ 6193631 h 6193631"/>
              <a:gd name="connsiteX3" fmla="*/ 357273 w 7503539"/>
              <a:gd name="connsiteY3" fmla="*/ 6193631 h 6193631"/>
              <a:gd name="connsiteX4" fmla="*/ 0 w 7503539"/>
              <a:gd name="connsiteY4" fmla="*/ 5836358 h 619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539" h="6193631">
                <a:moveTo>
                  <a:pt x="0" y="0"/>
                </a:moveTo>
                <a:lnTo>
                  <a:pt x="7503539" y="0"/>
                </a:lnTo>
                <a:lnTo>
                  <a:pt x="7503539" y="6193631"/>
                </a:lnTo>
                <a:lnTo>
                  <a:pt x="357273" y="6193631"/>
                </a:lnTo>
                <a:cubicBezTo>
                  <a:pt x="159958" y="6193631"/>
                  <a:pt x="0" y="6033674"/>
                  <a:pt x="0" y="5836358"/>
                </a:cubicBezTo>
                <a:close/>
              </a:path>
            </a:pathLst>
          </a:cu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7" name="Text Placeholder 13">
            <a:extLst>
              <a:ext uri="{FF2B5EF4-FFF2-40B4-BE49-F238E27FC236}">
                <a16:creationId xmlns:a16="http://schemas.microsoft.com/office/drawing/2014/main" id="{DC926123-1F71-4816-106E-7E41109975F2}"/>
              </a:ext>
            </a:extLst>
          </p:cNvPr>
          <p:cNvSpPr>
            <a:spLocks noGrp="1"/>
          </p:cNvSpPr>
          <p:nvPr>
            <p:ph type="body" sz="quarter" idx="11" hasCustomPrompt="1"/>
          </p:nvPr>
        </p:nvSpPr>
        <p:spPr>
          <a:xfrm>
            <a:off x="5120219"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8" name="Text Placeholder 13">
            <a:extLst>
              <a:ext uri="{FF2B5EF4-FFF2-40B4-BE49-F238E27FC236}">
                <a16:creationId xmlns:a16="http://schemas.microsoft.com/office/drawing/2014/main" id="{E9D324D8-E2C6-379E-3E6B-B4CECE9C7CB9}"/>
              </a:ext>
            </a:extLst>
          </p:cNvPr>
          <p:cNvSpPr>
            <a:spLocks noGrp="1"/>
          </p:cNvSpPr>
          <p:nvPr>
            <p:ph type="body" sz="quarter" idx="12" hasCustomPrompt="1"/>
          </p:nvPr>
        </p:nvSpPr>
        <p:spPr>
          <a:xfrm>
            <a:off x="5120219"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9" name="Text Placeholder 13">
            <a:extLst>
              <a:ext uri="{FF2B5EF4-FFF2-40B4-BE49-F238E27FC236}">
                <a16:creationId xmlns:a16="http://schemas.microsoft.com/office/drawing/2014/main" id="{F9BA4A51-3E46-87BC-45F7-58FF6DC6210E}"/>
              </a:ext>
            </a:extLst>
          </p:cNvPr>
          <p:cNvSpPr>
            <a:spLocks noGrp="1"/>
          </p:cNvSpPr>
          <p:nvPr>
            <p:ph type="body" sz="quarter" idx="13" hasCustomPrompt="1"/>
          </p:nvPr>
        </p:nvSpPr>
        <p:spPr>
          <a:xfrm>
            <a:off x="8742006"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4" name="Text Placeholder 13">
            <a:extLst>
              <a:ext uri="{FF2B5EF4-FFF2-40B4-BE49-F238E27FC236}">
                <a16:creationId xmlns:a16="http://schemas.microsoft.com/office/drawing/2014/main" id="{19CB1686-4AF7-E21B-6F72-7E3587474FF7}"/>
              </a:ext>
            </a:extLst>
          </p:cNvPr>
          <p:cNvSpPr>
            <a:spLocks noGrp="1"/>
          </p:cNvSpPr>
          <p:nvPr>
            <p:ph type="body" sz="quarter" idx="14" hasCustomPrompt="1"/>
          </p:nvPr>
        </p:nvSpPr>
        <p:spPr>
          <a:xfrm>
            <a:off x="8742006"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5" name="Text Placeholder 13">
            <a:extLst>
              <a:ext uri="{FF2B5EF4-FFF2-40B4-BE49-F238E27FC236}">
                <a16:creationId xmlns:a16="http://schemas.microsoft.com/office/drawing/2014/main" id="{2AC08BB4-EAA0-BD7E-5A87-BCC6C430F035}"/>
              </a:ext>
            </a:extLst>
          </p:cNvPr>
          <p:cNvSpPr>
            <a:spLocks noGrp="1"/>
          </p:cNvSpPr>
          <p:nvPr>
            <p:ph type="body" sz="quarter" idx="15" hasCustomPrompt="1"/>
          </p:nvPr>
        </p:nvSpPr>
        <p:spPr>
          <a:xfrm>
            <a:off x="5120219"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6" name="Text Placeholder 13">
            <a:extLst>
              <a:ext uri="{FF2B5EF4-FFF2-40B4-BE49-F238E27FC236}">
                <a16:creationId xmlns:a16="http://schemas.microsoft.com/office/drawing/2014/main" id="{2C6146CA-0F13-0002-0AA3-B1B67656B598}"/>
              </a:ext>
            </a:extLst>
          </p:cNvPr>
          <p:cNvSpPr>
            <a:spLocks noGrp="1"/>
          </p:cNvSpPr>
          <p:nvPr>
            <p:ph type="body" sz="quarter" idx="16" hasCustomPrompt="1"/>
          </p:nvPr>
        </p:nvSpPr>
        <p:spPr>
          <a:xfrm>
            <a:off x="5120219"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7" name="Text Placeholder 13">
            <a:extLst>
              <a:ext uri="{FF2B5EF4-FFF2-40B4-BE49-F238E27FC236}">
                <a16:creationId xmlns:a16="http://schemas.microsoft.com/office/drawing/2014/main" id="{9A118C6C-6399-A4B5-F599-DF7BF6946C20}"/>
              </a:ext>
            </a:extLst>
          </p:cNvPr>
          <p:cNvSpPr>
            <a:spLocks noGrp="1"/>
          </p:cNvSpPr>
          <p:nvPr>
            <p:ph type="body" sz="quarter" idx="17" hasCustomPrompt="1"/>
          </p:nvPr>
        </p:nvSpPr>
        <p:spPr>
          <a:xfrm>
            <a:off x="5120219"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8" name="Text Placeholder 13">
            <a:extLst>
              <a:ext uri="{FF2B5EF4-FFF2-40B4-BE49-F238E27FC236}">
                <a16:creationId xmlns:a16="http://schemas.microsoft.com/office/drawing/2014/main" id="{7C735F35-4163-81F6-B716-F4A49BF85197}"/>
              </a:ext>
            </a:extLst>
          </p:cNvPr>
          <p:cNvSpPr>
            <a:spLocks noGrp="1"/>
          </p:cNvSpPr>
          <p:nvPr>
            <p:ph type="body" sz="quarter" idx="18" hasCustomPrompt="1"/>
          </p:nvPr>
        </p:nvSpPr>
        <p:spPr>
          <a:xfrm>
            <a:off x="5120219"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9" name="Text Placeholder 13">
            <a:extLst>
              <a:ext uri="{FF2B5EF4-FFF2-40B4-BE49-F238E27FC236}">
                <a16:creationId xmlns:a16="http://schemas.microsoft.com/office/drawing/2014/main" id="{203B1102-6E81-2393-153D-5C2B5B3AABC0}"/>
              </a:ext>
            </a:extLst>
          </p:cNvPr>
          <p:cNvSpPr>
            <a:spLocks noGrp="1"/>
          </p:cNvSpPr>
          <p:nvPr>
            <p:ph type="body" sz="quarter" idx="19" hasCustomPrompt="1"/>
          </p:nvPr>
        </p:nvSpPr>
        <p:spPr>
          <a:xfrm>
            <a:off x="8742005"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0" name="Text Placeholder 13">
            <a:extLst>
              <a:ext uri="{FF2B5EF4-FFF2-40B4-BE49-F238E27FC236}">
                <a16:creationId xmlns:a16="http://schemas.microsoft.com/office/drawing/2014/main" id="{B24F0286-E681-94F3-BF9A-A3283D6C8C38}"/>
              </a:ext>
            </a:extLst>
          </p:cNvPr>
          <p:cNvSpPr>
            <a:spLocks noGrp="1"/>
          </p:cNvSpPr>
          <p:nvPr>
            <p:ph type="body" sz="quarter" idx="20" hasCustomPrompt="1"/>
          </p:nvPr>
        </p:nvSpPr>
        <p:spPr>
          <a:xfrm>
            <a:off x="8742005"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1" name="Text Placeholder 13">
            <a:extLst>
              <a:ext uri="{FF2B5EF4-FFF2-40B4-BE49-F238E27FC236}">
                <a16:creationId xmlns:a16="http://schemas.microsoft.com/office/drawing/2014/main" id="{2E3AD68B-0A55-0FC4-ECC4-C572E5E347A3}"/>
              </a:ext>
            </a:extLst>
          </p:cNvPr>
          <p:cNvSpPr>
            <a:spLocks noGrp="1"/>
          </p:cNvSpPr>
          <p:nvPr>
            <p:ph type="body" sz="quarter" idx="21" hasCustomPrompt="1"/>
          </p:nvPr>
        </p:nvSpPr>
        <p:spPr>
          <a:xfrm>
            <a:off x="8742005"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2" name="Text Placeholder 13">
            <a:extLst>
              <a:ext uri="{FF2B5EF4-FFF2-40B4-BE49-F238E27FC236}">
                <a16:creationId xmlns:a16="http://schemas.microsoft.com/office/drawing/2014/main" id="{BD1AFFA9-83AC-76A1-280F-7F65D43BA6B5}"/>
              </a:ext>
            </a:extLst>
          </p:cNvPr>
          <p:cNvSpPr>
            <a:spLocks noGrp="1"/>
          </p:cNvSpPr>
          <p:nvPr>
            <p:ph type="body" sz="quarter" idx="22" hasCustomPrompt="1"/>
          </p:nvPr>
        </p:nvSpPr>
        <p:spPr>
          <a:xfrm>
            <a:off x="8742005"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1580999680"/>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974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pic>
        <p:nvPicPr>
          <p:cNvPr id="8" name="Picture 7" descr="A logo with a black background&#10;&#10;AI-generated content may be incorrect.">
            <a:extLst>
              <a:ext uri="{FF2B5EF4-FFF2-40B4-BE49-F238E27FC236}">
                <a16:creationId xmlns:a16="http://schemas.microsoft.com/office/drawing/2014/main" id="{42FCE860-2892-F272-1737-00B93B8C03F5}"/>
              </a:ext>
            </a:extLst>
          </p:cNvPr>
          <p:cNvPicPr>
            <a:picLocks noChangeAspect="1"/>
          </p:cNvPicPr>
          <p:nvPr userDrawn="1"/>
        </p:nvPicPr>
        <p:blipFill>
          <a:blip r:embed="rId2"/>
          <a:srcRect r="9504" b="34858"/>
          <a:stretch/>
        </p:blipFill>
        <p:spPr>
          <a:xfrm>
            <a:off x="9158496" y="4674394"/>
            <a:ext cx="3033504" cy="2183606"/>
          </a:xfrm>
          <a:prstGeom prst="rect">
            <a:avLst/>
          </a:prstGeom>
        </p:spPr>
      </p:pic>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22632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SzPct val="100000"/>
              <a:buFont typeface="Arial" panose="020B0604020202020204" pitchFamily="34" charset="0"/>
              <a:buChar char="•"/>
              <a:defRPr>
                <a:solidFill>
                  <a:schemeClr val="tx1"/>
                </a:solidFill>
              </a:defRPr>
            </a:lvl1pPr>
            <a:lvl2pPr marL="457200" indent="-228600">
              <a:buSzPct val="100000"/>
              <a:buFont typeface="Arial" panose="020B0604020202020204" pitchFamily="34" charset="0"/>
              <a:buChar char="•"/>
              <a:defRPr>
                <a:solidFill>
                  <a:schemeClr val="tx1"/>
                </a:solidFill>
              </a:defRPr>
            </a:lvl2pPr>
            <a:lvl3pPr marL="657225" indent="-200025">
              <a:buSzPct val="100000"/>
              <a:buFont typeface="Arial" panose="020B0604020202020204" pitchFamily="34" charset="0"/>
              <a:buChar char="•"/>
              <a:defRPr>
                <a:solidFill>
                  <a:schemeClr val="tx1"/>
                </a:solidFill>
              </a:defRPr>
            </a:lvl3pPr>
            <a:lvl4pPr marL="842963" indent="-180975">
              <a:buSzPct val="100000"/>
              <a:buFont typeface="Arial" panose="020B0604020202020204" pitchFamily="34" charset="0"/>
              <a:buChar char="•"/>
              <a:defRPr>
                <a:solidFill>
                  <a:schemeClr val="tx1"/>
                </a:solidFill>
              </a:defRPr>
            </a:lvl4pPr>
            <a:lvl5pPr marL="1023938" indent="-168275">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935535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167085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79353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22263" indent="-150813">
              <a:buSzPct val="100000"/>
              <a:buFont typeface="Arial" panose="020B0604020202020204" pitchFamily="34" charset="0"/>
              <a:buChar char="•"/>
              <a:defRPr lang="en-US" sz="1800" dirty="0"/>
            </a:lvl2pPr>
            <a:lvl3pPr marL="466725" indent="-138113">
              <a:buSzPct val="100000"/>
              <a:buFont typeface="Arial" panose="020B0604020202020204" pitchFamily="34" charset="0"/>
              <a:buChar char="•"/>
              <a:defRPr lang="en-US" dirty="0"/>
            </a:lvl3pPr>
            <a:lvl4pPr marL="595313" indent="-128588">
              <a:buSzPct val="100000"/>
              <a:buFont typeface="Arial" panose="020B0604020202020204" pitchFamily="34" charset="0"/>
              <a:buChar char="•"/>
              <a:defRPr lang="en-US" dirty="0"/>
            </a:lvl4pPr>
            <a:lvl5pPr marL="731838" indent="-1222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647047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23306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78270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648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120477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0903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683367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0822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355182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8718909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5825794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4210988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810364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535265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13856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799253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5383852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490266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846489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221451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250169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921659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784391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525576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1372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313452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585216" y="2977823"/>
            <a:ext cx="47106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userDrawn="1">
            <p:ph type="body" sz="quarter" idx="12" hasCustomPrompt="1"/>
          </p:nvPr>
        </p:nvSpPr>
        <p:spPr>
          <a:xfrm>
            <a:off x="585216" y="3977319"/>
            <a:ext cx="47106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20" name="Freeform: Shape 19">
            <a:extLst>
              <a:ext uri="{FF2B5EF4-FFF2-40B4-BE49-F238E27FC236}">
                <a16:creationId xmlns:a16="http://schemas.microsoft.com/office/drawing/2014/main" id="{9F53C8F2-EC31-55BF-16D2-0044C59960AA}"/>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2" name="Freeform: Shape 21">
            <a:extLst>
              <a:ext uri="{FF2B5EF4-FFF2-40B4-BE49-F238E27FC236}">
                <a16:creationId xmlns:a16="http://schemas.microsoft.com/office/drawing/2014/main" id="{2360F82B-6715-A9A5-4124-AF6BF4D6B385}"/>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14" name="Picture 13" descr="A logo with a black background&#10;&#10;AI-generated content may be incorrect.">
            <a:extLst>
              <a:ext uri="{FF2B5EF4-FFF2-40B4-BE49-F238E27FC236}">
                <a16:creationId xmlns:a16="http://schemas.microsoft.com/office/drawing/2014/main" id="{768E583E-C024-6139-8A31-CF091C9E47FB}"/>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2827515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06B757-9C63-24D6-999F-5C559937AEA0}"/>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8373E8C4-3677-66A8-6F73-22414FD5A814}"/>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p:cNvSpPr>
            <a:spLocks noGrp="1"/>
          </p:cNvSpPr>
          <p:nvPr>
            <p:ph type="title" hasCustomPrompt="1"/>
          </p:nvPr>
        </p:nvSpPr>
        <p:spPr>
          <a:xfrm>
            <a:off x="585216" y="2977823"/>
            <a:ext cx="453074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530748"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1" name="Picture 10" descr="A logo with a black background&#10;&#10;AI-generated content may be incorrect.">
            <a:extLst>
              <a:ext uri="{FF2B5EF4-FFF2-40B4-BE49-F238E27FC236}">
                <a16:creationId xmlns:a16="http://schemas.microsoft.com/office/drawing/2014/main" id="{6D03DF59-FEFF-D865-C4AF-FAA068E4C113}"/>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Tree>
    <p:extLst>
      <p:ext uri="{BB962C8B-B14F-4D97-AF65-F5344CB8AC3E}">
        <p14:creationId xmlns:p14="http://schemas.microsoft.com/office/powerpoint/2010/main" val="5229240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5002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Freeform: Shape 2">
            <a:extLst>
              <a:ext uri="{FF2B5EF4-FFF2-40B4-BE49-F238E27FC236}">
                <a16:creationId xmlns:a16="http://schemas.microsoft.com/office/drawing/2014/main" id="{5F88F596-7371-7EF3-C798-0A01A56217A8}"/>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320CF577-1635-1D5E-00BF-BF60EB02DA2A}"/>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1A38541D-B209-A2A9-FB32-D8653F0B74E1}"/>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234048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05E75D26-CB1F-735A-72E7-E7F07B8A182B}"/>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9669AB9A-20CC-D4E5-D806-39E171E33BCE}"/>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BB945BAB-E13D-888F-8E90-C9D8BD9D6A5A}"/>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
        <p:nvSpPr>
          <p:cNvPr id="2" name="Title 1"/>
          <p:cNvSpPr>
            <a:spLocks noGrp="1"/>
          </p:cNvSpPr>
          <p:nvPr>
            <p:ph type="title" hasCustomPrompt="1"/>
          </p:nvPr>
        </p:nvSpPr>
        <p:spPr>
          <a:xfrm>
            <a:off x="585216" y="2980408"/>
            <a:ext cx="4480270"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4589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3275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063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91003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noAutofit/>
          </a:bodyPr>
          <a:lstStyle>
            <a:lvl1pPr marL="228600" indent="-228600">
              <a:buSzPct val="100000"/>
              <a:buFont typeface="Arial" panose="020B0604020202020204" pitchFamily="34" charset="0"/>
              <a:buChar char="•"/>
              <a:defRPr sz="3600">
                <a:latin typeface="+mn-lt"/>
              </a:defRPr>
            </a:lvl1pPr>
            <a:lvl2pPr marL="457200" indent="-228600">
              <a:buSzPct val="100000"/>
              <a:buFont typeface="Arial" panose="020B0604020202020204" pitchFamily="34" charset="0"/>
              <a:buChar char="•"/>
              <a:defRPr sz="2800">
                <a:latin typeface="+mn-lt"/>
              </a:defRPr>
            </a:lvl2pPr>
            <a:lvl3pPr marL="657225" indent="-200025">
              <a:buSzPct val="100000"/>
              <a:buFont typeface="Arial" panose="020B0604020202020204" pitchFamily="34" charset="0"/>
              <a:buChar char="•"/>
              <a:defRPr sz="2400">
                <a:latin typeface="+mn-lt"/>
              </a:defRPr>
            </a:lvl3pPr>
            <a:lvl4pPr marL="842963" indent="-180975">
              <a:buSzPct val="100000"/>
              <a:buFont typeface="Arial" panose="020B0604020202020204" pitchFamily="34" charset="0"/>
              <a:buChar char="•"/>
              <a:defRPr sz="2000">
                <a:latin typeface="+mn-lt"/>
              </a:defRPr>
            </a:lvl4pPr>
            <a:lvl5pPr marL="1023938" indent="-168275">
              <a:buSzPct val="100000"/>
              <a:buFont typeface="Arial" panose="020B0604020202020204" pitchFamily="34" charset="0"/>
              <a:buChar cha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26117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822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056698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548762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983662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809554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586877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983191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2250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985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3860000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26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5513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176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82738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948024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65668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382814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3640600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401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97AD2875-93C1-7E41-EB74-A47777790467}"/>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328010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78600316-82ED-6BFB-B841-F63F7051F161}"/>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299623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71CF607-5D64-F90A-3BE6-63425E0B26E4}"/>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8501229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41BE36E8-6558-064A-503E-6CDE4D66924B}"/>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080020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40209910-7921-9ADF-E85C-C13F0E647515}"/>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2910573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FF31905B-A13D-9439-2907-8817FE930467}"/>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2304877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B738C608-3893-73D1-DD1A-4A0763FCC1BD}"/>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1925593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3769843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49C5779-F864-89F6-14BD-FFFAD86143AB}"/>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624578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pic>
        <p:nvPicPr>
          <p:cNvPr id="2" name="Picture 1" descr="A black and white sign with white text&#10;&#10;Description automatically generated">
            <a:extLst>
              <a:ext uri="{FF2B5EF4-FFF2-40B4-BE49-F238E27FC236}">
                <a16:creationId xmlns:a16="http://schemas.microsoft.com/office/drawing/2014/main" id="{C465EE3D-9739-F541-5206-A61149A1F626}"/>
              </a:ext>
            </a:extLst>
          </p:cNvPr>
          <p:cNvPicPr>
            <a:picLocks noChangeAspect="1"/>
          </p:cNvPicPr>
          <p:nvPr userDrawn="1"/>
        </p:nvPicPr>
        <p:blipFill>
          <a:blip r:embed="rId3"/>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66582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70579019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651430"/>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 name="Picture 5" descr="A logo with a black background&#10;&#10;AI-generated content may be incorrect.">
            <a:extLst>
              <a:ext uri="{FF2B5EF4-FFF2-40B4-BE49-F238E27FC236}">
                <a16:creationId xmlns:a16="http://schemas.microsoft.com/office/drawing/2014/main" id="{E8B303BC-83F0-A58E-77F4-B3D10283D2AA}"/>
              </a:ext>
            </a:extLst>
          </p:cNvPr>
          <p:cNvPicPr>
            <a:picLocks noChangeAspect="1"/>
          </p:cNvPicPr>
          <p:nvPr userDrawn="1"/>
        </p:nvPicPr>
        <p:blipFill>
          <a:blip r:embed="rId3"/>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15679"/>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4552828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416679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Demo slide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06B757-9C63-24D6-999F-5C559937AEA0}"/>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8373E8C4-3677-66A8-6F73-22414FD5A814}"/>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p:cNvSpPr>
            <a:spLocks noGrp="1"/>
          </p:cNvSpPr>
          <p:nvPr>
            <p:ph type="title" hasCustomPrompt="1"/>
          </p:nvPr>
        </p:nvSpPr>
        <p:spPr>
          <a:xfrm>
            <a:off x="585216" y="2977823"/>
            <a:ext cx="453074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530748"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1" name="Picture 10" descr="A logo with a black background&#10;&#10;AI-generated content may be incorrect.">
            <a:extLst>
              <a:ext uri="{FF2B5EF4-FFF2-40B4-BE49-F238E27FC236}">
                <a16:creationId xmlns:a16="http://schemas.microsoft.com/office/drawing/2014/main" id="{6D03DF59-FEFF-D865-C4AF-FAA068E4C113}"/>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Tree>
    <p:extLst>
      <p:ext uri="{BB962C8B-B14F-4D97-AF65-F5344CB8AC3E}">
        <p14:creationId xmlns:p14="http://schemas.microsoft.com/office/powerpoint/2010/main" val="1692417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6014B8A-0BF9-32DE-FF0E-08947B1E697A}"/>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06391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79139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588264" y="3152001"/>
            <a:ext cx="2285566" cy="553998"/>
          </a:xfrm>
        </p:spPr>
        <p:txBody>
          <a:bodyPr anchor="ctr"/>
          <a:lstStyle>
            <a:lvl1pPr>
              <a:defRPr/>
            </a:lvl1pPr>
          </a:lstStyle>
          <a:p>
            <a:r>
              <a:rPr lang="en-US"/>
              <a:t>Agenda</a:t>
            </a:r>
          </a:p>
        </p:txBody>
      </p:sp>
      <p:sp>
        <p:nvSpPr>
          <p:cNvPr id="49" name="Rectangle: Single Corner Rounded 48">
            <a:extLst>
              <a:ext uri="{FF2B5EF4-FFF2-40B4-BE49-F238E27FC236}">
                <a16:creationId xmlns:a16="http://schemas.microsoft.com/office/drawing/2014/main" id="{2BC64A4E-937B-8B4B-41F3-6DAE5702A0D8}"/>
              </a:ext>
            </a:extLst>
          </p:cNvPr>
          <p:cNvSpPr/>
          <p:nvPr userDrawn="1"/>
        </p:nvSpPr>
        <p:spPr bwMode="auto">
          <a:xfrm flipH="1" flipV="1">
            <a:off x="4065588" y="-3"/>
            <a:ext cx="8126412" cy="6289715"/>
          </a:xfrm>
          <a:custGeom>
            <a:avLst/>
            <a:gdLst>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 name="connsiteX4" fmla="*/ 0 w 8126412"/>
              <a:gd name="connsiteY4" fmla="*/ 6289715 h 6289715"/>
              <a:gd name="connsiteX5" fmla="*/ 0 w 8126412"/>
              <a:gd name="connsiteY5" fmla="*/ 0 h 6289715"/>
              <a:gd name="connsiteX0" fmla="*/ 0 w 8126412"/>
              <a:gd name="connsiteY0" fmla="*/ 6289715 h 6381155"/>
              <a:gd name="connsiteX1" fmla="*/ 0 w 8126412"/>
              <a:gd name="connsiteY1" fmla="*/ 0 h 6381155"/>
              <a:gd name="connsiteX2" fmla="*/ 7846583 w 8126412"/>
              <a:gd name="connsiteY2" fmla="*/ 0 h 6381155"/>
              <a:gd name="connsiteX3" fmla="*/ 8126412 w 8126412"/>
              <a:gd name="connsiteY3" fmla="*/ 279829 h 6381155"/>
              <a:gd name="connsiteX4" fmla="*/ 8126412 w 8126412"/>
              <a:gd name="connsiteY4" fmla="*/ 6289715 h 6381155"/>
              <a:gd name="connsiteX5" fmla="*/ 91440 w 8126412"/>
              <a:gd name="connsiteY5" fmla="*/ 6381155 h 6381155"/>
              <a:gd name="connsiteX0" fmla="*/ 0 w 8126412"/>
              <a:gd name="connsiteY0" fmla="*/ 0 h 6381155"/>
              <a:gd name="connsiteX1" fmla="*/ 7846583 w 8126412"/>
              <a:gd name="connsiteY1" fmla="*/ 0 h 6381155"/>
              <a:gd name="connsiteX2" fmla="*/ 8126412 w 8126412"/>
              <a:gd name="connsiteY2" fmla="*/ 279829 h 6381155"/>
              <a:gd name="connsiteX3" fmla="*/ 8126412 w 8126412"/>
              <a:gd name="connsiteY3" fmla="*/ 6289715 h 6381155"/>
              <a:gd name="connsiteX4" fmla="*/ 91440 w 8126412"/>
              <a:gd name="connsiteY4" fmla="*/ 6381155 h 6381155"/>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Lst>
            <a:ahLst/>
            <a:cxnLst>
              <a:cxn ang="0">
                <a:pos x="connsiteX0" y="connsiteY0"/>
              </a:cxn>
              <a:cxn ang="0">
                <a:pos x="connsiteX1" y="connsiteY1"/>
              </a:cxn>
              <a:cxn ang="0">
                <a:pos x="connsiteX2" y="connsiteY2"/>
              </a:cxn>
              <a:cxn ang="0">
                <a:pos x="connsiteX3" y="connsiteY3"/>
              </a:cxn>
            </a:cxnLst>
            <a:rect l="l" t="t" r="r" b="b"/>
            <a:pathLst>
              <a:path w="8126412" h="6289715">
                <a:moveTo>
                  <a:pt x="0" y="0"/>
                </a:moveTo>
                <a:lnTo>
                  <a:pt x="7846583" y="0"/>
                </a:lnTo>
                <a:cubicBezTo>
                  <a:pt x="8001128" y="0"/>
                  <a:pt x="8126412" y="125284"/>
                  <a:pt x="8126412" y="279829"/>
                </a:cubicBezTo>
                <a:lnTo>
                  <a:pt x="8126412" y="6289715"/>
                </a:lnTo>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9881814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9279663-60C4-0C6C-3571-795801E59DFC}"/>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539202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C9F0F7-6EC2-B20A-117D-E4209A74FF12}"/>
              </a:ext>
            </a:extLst>
          </p:cNvPr>
          <p:cNvSpPr/>
          <p:nvPr userDrawn="1"/>
        </p:nvSpPr>
        <p:spPr>
          <a:xfrm rot="5400000">
            <a:off x="1374183" y="2075860"/>
            <a:ext cx="790582" cy="2706279"/>
          </a:xfrm>
          <a:prstGeom prst="roundRect">
            <a:avLst>
              <a:gd name="adj" fmla="val 500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626691" y="3152000"/>
            <a:ext cx="2285566" cy="553998"/>
          </a:xfrm>
        </p:spPr>
        <p:txBody>
          <a:bodyPr anchor="ctr"/>
          <a:lstStyle>
            <a:lvl1pPr algn="ctr">
              <a:defRPr>
                <a:gradFill>
                  <a:gsLst>
                    <a:gs pos="0">
                      <a:schemeClr val="accent3"/>
                    </a:gs>
                    <a:gs pos="97196">
                      <a:schemeClr val="accent5"/>
                    </a:gs>
                    <a:gs pos="61000">
                      <a:schemeClr val="accent1"/>
                    </a:gs>
                  </a:gsLst>
                  <a:lin ang="13500000" scaled="1"/>
                </a:gradFill>
              </a:defRPr>
            </a:lvl1pPr>
          </a:lstStyle>
          <a:p>
            <a:r>
              <a:rPr lang="en-US"/>
              <a:t>Agenda</a:t>
            </a:r>
          </a:p>
        </p:txBody>
      </p:sp>
      <p:sp>
        <p:nvSpPr>
          <p:cNvPr id="120" name="Rectangle: Rounded Corners 119">
            <a:extLst>
              <a:ext uri="{FF2B5EF4-FFF2-40B4-BE49-F238E27FC236}">
                <a16:creationId xmlns:a16="http://schemas.microsoft.com/office/drawing/2014/main" id="{933020F6-E480-8A11-24C0-6B9CC5B163BC}"/>
              </a:ext>
            </a:extLst>
          </p:cNvPr>
          <p:cNvSpPr/>
          <p:nvPr userDrawn="1"/>
        </p:nvSpPr>
        <p:spPr bwMode="auto">
          <a:xfrm rot="10800000" flipH="1" flipV="1">
            <a:off x="4356099" y="585788"/>
            <a:ext cx="7264400" cy="5683250"/>
          </a:xfrm>
          <a:prstGeom prst="roundRect">
            <a:avLst>
              <a:gd name="adj" fmla="val 3387"/>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4" name="Text Placeholder 3">
            <a:extLst>
              <a:ext uri="{FF2B5EF4-FFF2-40B4-BE49-F238E27FC236}">
                <a16:creationId xmlns:a16="http://schemas.microsoft.com/office/drawing/2014/main" id="{4F23B1FC-F6DB-A951-8D43-3A5B31A61041}"/>
              </a:ext>
            </a:extLst>
          </p:cNvPr>
          <p:cNvSpPr>
            <a:spLocks noGrp="1"/>
          </p:cNvSpPr>
          <p:nvPr>
            <p:ph type="body" sz="quarter" idx="10" hasCustomPrompt="1"/>
          </p:nvPr>
        </p:nvSpPr>
        <p:spPr>
          <a:xfrm>
            <a:off x="4519613" y="981539"/>
            <a:ext cx="6936014" cy="276999"/>
          </a:xfrm>
        </p:spPr>
        <p:txBody>
          <a:bodyPr/>
          <a:lstStyle>
            <a:lvl1pPr marL="0" indent="0">
              <a:buNone/>
              <a:defRPr sz="1800"/>
            </a:lvl1pPr>
            <a:lvl2pPr marL="228600" indent="0">
              <a:buNone/>
              <a:defRPr/>
            </a:lvl2pPr>
          </a:lstStyle>
          <a:p>
            <a:pPr lvl="0"/>
            <a:r>
              <a:rPr lang="en-US"/>
              <a:t>Click to add text</a:t>
            </a:r>
          </a:p>
        </p:txBody>
      </p:sp>
      <p:sp>
        <p:nvSpPr>
          <p:cNvPr id="5" name="Text Placeholder 3">
            <a:extLst>
              <a:ext uri="{FF2B5EF4-FFF2-40B4-BE49-F238E27FC236}">
                <a16:creationId xmlns:a16="http://schemas.microsoft.com/office/drawing/2014/main" id="{E0B828B9-4E6B-16B4-DA4E-3B869FADC948}"/>
              </a:ext>
            </a:extLst>
          </p:cNvPr>
          <p:cNvSpPr>
            <a:spLocks noGrp="1"/>
          </p:cNvSpPr>
          <p:nvPr>
            <p:ph type="body" sz="quarter" idx="11" hasCustomPrompt="1"/>
          </p:nvPr>
        </p:nvSpPr>
        <p:spPr>
          <a:xfrm>
            <a:off x="4519613" y="1904489"/>
            <a:ext cx="6936014" cy="276999"/>
          </a:xfrm>
        </p:spPr>
        <p:txBody>
          <a:bodyPr/>
          <a:lstStyle>
            <a:lvl1pPr marL="0" indent="0">
              <a:buNone/>
              <a:defRPr sz="1800"/>
            </a:lvl1pPr>
            <a:lvl2pPr marL="228600" indent="0">
              <a:buNone/>
              <a:defRPr/>
            </a:lvl2pPr>
          </a:lstStyle>
          <a:p>
            <a:pPr lvl="0"/>
            <a:r>
              <a:rPr lang="en-US"/>
              <a:t>Click to add text</a:t>
            </a:r>
          </a:p>
        </p:txBody>
      </p:sp>
      <p:sp>
        <p:nvSpPr>
          <p:cNvPr id="7" name="Text Placeholder 3">
            <a:extLst>
              <a:ext uri="{FF2B5EF4-FFF2-40B4-BE49-F238E27FC236}">
                <a16:creationId xmlns:a16="http://schemas.microsoft.com/office/drawing/2014/main" id="{D74CB702-0EA1-542F-E8CA-63882AAB6EB3}"/>
              </a:ext>
            </a:extLst>
          </p:cNvPr>
          <p:cNvSpPr>
            <a:spLocks noGrp="1"/>
          </p:cNvSpPr>
          <p:nvPr>
            <p:ph type="body" sz="quarter" idx="12" hasCustomPrompt="1"/>
          </p:nvPr>
        </p:nvSpPr>
        <p:spPr>
          <a:xfrm>
            <a:off x="4519613" y="2827439"/>
            <a:ext cx="6936014" cy="276999"/>
          </a:xfrm>
        </p:spPr>
        <p:txBody>
          <a:bodyPr/>
          <a:lstStyle>
            <a:lvl1pPr marL="0" indent="0">
              <a:buNone/>
              <a:defRPr sz="1800"/>
            </a:lvl1pPr>
            <a:lvl2pPr marL="228600" indent="0">
              <a:buNone/>
              <a:defRPr/>
            </a:lvl2pPr>
          </a:lstStyle>
          <a:p>
            <a:pPr lvl="0"/>
            <a:r>
              <a:rPr lang="en-US"/>
              <a:t>Click to add text</a:t>
            </a:r>
          </a:p>
        </p:txBody>
      </p:sp>
      <p:sp>
        <p:nvSpPr>
          <p:cNvPr id="8" name="Text Placeholder 3">
            <a:extLst>
              <a:ext uri="{FF2B5EF4-FFF2-40B4-BE49-F238E27FC236}">
                <a16:creationId xmlns:a16="http://schemas.microsoft.com/office/drawing/2014/main" id="{9A9F8B7A-DFA1-84EF-2CBF-1B70386F8CED}"/>
              </a:ext>
            </a:extLst>
          </p:cNvPr>
          <p:cNvSpPr>
            <a:spLocks noGrp="1"/>
          </p:cNvSpPr>
          <p:nvPr>
            <p:ph type="body" sz="quarter" idx="13" hasCustomPrompt="1"/>
          </p:nvPr>
        </p:nvSpPr>
        <p:spPr>
          <a:xfrm>
            <a:off x="4519613" y="3750389"/>
            <a:ext cx="6936014" cy="276999"/>
          </a:xfrm>
        </p:spPr>
        <p:txBody>
          <a:bodyPr/>
          <a:lstStyle>
            <a:lvl1pPr marL="0" indent="0">
              <a:buNone/>
              <a:defRPr sz="1800"/>
            </a:lvl1pPr>
            <a:lvl2pPr marL="228600" indent="0">
              <a:buNone/>
              <a:defRPr/>
            </a:lvl2pPr>
          </a:lstStyle>
          <a:p>
            <a:pPr lvl="0"/>
            <a:r>
              <a:rPr lang="en-US"/>
              <a:t>Click to add text</a:t>
            </a:r>
          </a:p>
        </p:txBody>
      </p:sp>
      <p:sp>
        <p:nvSpPr>
          <p:cNvPr id="14" name="Text Placeholder 3">
            <a:extLst>
              <a:ext uri="{FF2B5EF4-FFF2-40B4-BE49-F238E27FC236}">
                <a16:creationId xmlns:a16="http://schemas.microsoft.com/office/drawing/2014/main" id="{9D301A2A-C8AB-BF1E-9F14-C896FCD998BD}"/>
              </a:ext>
            </a:extLst>
          </p:cNvPr>
          <p:cNvSpPr>
            <a:spLocks noGrp="1"/>
          </p:cNvSpPr>
          <p:nvPr>
            <p:ph type="body" sz="quarter" idx="14" hasCustomPrompt="1"/>
          </p:nvPr>
        </p:nvSpPr>
        <p:spPr>
          <a:xfrm>
            <a:off x="4519613" y="4673339"/>
            <a:ext cx="6936014" cy="276999"/>
          </a:xfrm>
        </p:spPr>
        <p:txBody>
          <a:bodyPr/>
          <a:lstStyle>
            <a:lvl1pPr marL="0" indent="0">
              <a:buNone/>
              <a:defRPr sz="1800"/>
            </a:lvl1pPr>
            <a:lvl2pPr marL="228600" indent="0">
              <a:buNone/>
              <a:defRPr/>
            </a:lvl2pPr>
          </a:lstStyle>
          <a:p>
            <a:pPr lvl="0"/>
            <a:r>
              <a:rPr lang="en-US"/>
              <a:t>Click to add text</a:t>
            </a:r>
          </a:p>
        </p:txBody>
      </p:sp>
      <p:sp>
        <p:nvSpPr>
          <p:cNvPr id="17" name="Text Placeholder 3">
            <a:extLst>
              <a:ext uri="{FF2B5EF4-FFF2-40B4-BE49-F238E27FC236}">
                <a16:creationId xmlns:a16="http://schemas.microsoft.com/office/drawing/2014/main" id="{D6B63B9E-D78B-52B3-F630-5E7AFC99A9DC}"/>
              </a:ext>
            </a:extLst>
          </p:cNvPr>
          <p:cNvSpPr>
            <a:spLocks noGrp="1"/>
          </p:cNvSpPr>
          <p:nvPr>
            <p:ph type="body" sz="quarter" idx="15" hasCustomPrompt="1"/>
          </p:nvPr>
        </p:nvSpPr>
        <p:spPr>
          <a:xfrm>
            <a:off x="4519613" y="5596288"/>
            <a:ext cx="6936014" cy="276999"/>
          </a:xfrm>
        </p:spPr>
        <p:txBody>
          <a:bodyPr/>
          <a:lstStyle>
            <a:lvl1pPr marL="0" indent="0">
              <a:buNone/>
              <a:defRPr sz="1800"/>
            </a:lvl1pPr>
            <a:lvl2pPr marL="228600" indent="0">
              <a:buNone/>
              <a:defRPr/>
            </a:lvl2pPr>
          </a:lstStyle>
          <a:p>
            <a:pPr lvl="0"/>
            <a:r>
              <a:rPr lang="en-US"/>
              <a:t>Click to add text</a:t>
            </a:r>
          </a:p>
        </p:txBody>
      </p:sp>
      <p:sp>
        <p:nvSpPr>
          <p:cNvPr id="18" name="Text Placeholder 3">
            <a:extLst>
              <a:ext uri="{FF2B5EF4-FFF2-40B4-BE49-F238E27FC236}">
                <a16:creationId xmlns:a16="http://schemas.microsoft.com/office/drawing/2014/main" id="{E1C582BF-25CD-AFD5-A441-B340181D1581}"/>
              </a:ext>
            </a:extLst>
          </p:cNvPr>
          <p:cNvSpPr>
            <a:spLocks noGrp="1"/>
          </p:cNvSpPr>
          <p:nvPr>
            <p:ph type="body" sz="quarter" idx="16" hasCustomPrompt="1"/>
          </p:nvPr>
        </p:nvSpPr>
        <p:spPr>
          <a:xfrm>
            <a:off x="3475262" y="8437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20" name="Text Placeholder 3">
            <a:extLst>
              <a:ext uri="{FF2B5EF4-FFF2-40B4-BE49-F238E27FC236}">
                <a16:creationId xmlns:a16="http://schemas.microsoft.com/office/drawing/2014/main" id="{D58A6651-83A2-4FDE-9EE8-C9F73C85BBA4}"/>
              </a:ext>
            </a:extLst>
          </p:cNvPr>
          <p:cNvSpPr>
            <a:spLocks noGrp="1"/>
          </p:cNvSpPr>
          <p:nvPr>
            <p:ph type="body" sz="quarter" idx="17" hasCustomPrompt="1"/>
          </p:nvPr>
        </p:nvSpPr>
        <p:spPr>
          <a:xfrm>
            <a:off x="3475262" y="17667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1" name="Text Placeholder 3">
            <a:extLst>
              <a:ext uri="{FF2B5EF4-FFF2-40B4-BE49-F238E27FC236}">
                <a16:creationId xmlns:a16="http://schemas.microsoft.com/office/drawing/2014/main" id="{898E7064-EB39-21D4-8EB3-44B8E662F088}"/>
              </a:ext>
            </a:extLst>
          </p:cNvPr>
          <p:cNvSpPr>
            <a:spLocks noGrp="1"/>
          </p:cNvSpPr>
          <p:nvPr>
            <p:ph type="body" sz="quarter" idx="18" hasCustomPrompt="1"/>
          </p:nvPr>
        </p:nvSpPr>
        <p:spPr>
          <a:xfrm>
            <a:off x="3475262" y="26896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2" name="Text Placeholder 3">
            <a:extLst>
              <a:ext uri="{FF2B5EF4-FFF2-40B4-BE49-F238E27FC236}">
                <a16:creationId xmlns:a16="http://schemas.microsoft.com/office/drawing/2014/main" id="{C75E5FCA-0817-2FF8-A4ED-10EAA0763B96}"/>
              </a:ext>
            </a:extLst>
          </p:cNvPr>
          <p:cNvSpPr>
            <a:spLocks noGrp="1"/>
          </p:cNvSpPr>
          <p:nvPr>
            <p:ph type="body" sz="quarter" idx="19" hasCustomPrompt="1"/>
          </p:nvPr>
        </p:nvSpPr>
        <p:spPr>
          <a:xfrm>
            <a:off x="3475262" y="36126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3" name="Text Placeholder 3">
            <a:extLst>
              <a:ext uri="{FF2B5EF4-FFF2-40B4-BE49-F238E27FC236}">
                <a16:creationId xmlns:a16="http://schemas.microsoft.com/office/drawing/2014/main" id="{BA332009-79C4-DCCE-9B59-92DED15FBB7D}"/>
              </a:ext>
            </a:extLst>
          </p:cNvPr>
          <p:cNvSpPr>
            <a:spLocks noGrp="1"/>
          </p:cNvSpPr>
          <p:nvPr>
            <p:ph type="body" sz="quarter" idx="20" hasCustomPrompt="1"/>
          </p:nvPr>
        </p:nvSpPr>
        <p:spPr>
          <a:xfrm>
            <a:off x="3475262" y="45355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4" name="Text Placeholder 3">
            <a:extLst>
              <a:ext uri="{FF2B5EF4-FFF2-40B4-BE49-F238E27FC236}">
                <a16:creationId xmlns:a16="http://schemas.microsoft.com/office/drawing/2014/main" id="{DFB14306-DD8B-5B21-867F-C2384E91B426}"/>
              </a:ext>
            </a:extLst>
          </p:cNvPr>
          <p:cNvSpPr>
            <a:spLocks noGrp="1"/>
          </p:cNvSpPr>
          <p:nvPr>
            <p:ph type="body" sz="quarter" idx="21" hasCustomPrompt="1"/>
          </p:nvPr>
        </p:nvSpPr>
        <p:spPr>
          <a:xfrm>
            <a:off x="3475262" y="5458514"/>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Tree>
    <p:extLst>
      <p:ext uri="{BB962C8B-B14F-4D97-AF65-F5344CB8AC3E}">
        <p14:creationId xmlns:p14="http://schemas.microsoft.com/office/powerpoint/2010/main" val="147360021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3578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a:extLst>
              <a:ext uri="{FF2B5EF4-FFF2-40B4-BE49-F238E27FC236}">
                <a16:creationId xmlns:a16="http://schemas.microsoft.com/office/drawing/2014/main" id="{E24F6824-4AA3-4E13-D32B-8D80455AE07F}"/>
              </a:ext>
            </a:extLst>
          </p:cNvPr>
          <p:cNvSpPr>
            <a:spLocks noGrp="1"/>
          </p:cNvSpPr>
          <p:nvPr>
            <p:ph type="body" sz="quarter" idx="21"/>
          </p:nvPr>
        </p:nvSpPr>
        <p:spPr>
          <a:xfrm>
            <a:off x="6397625"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accent3"/>
                    </a:gs>
                    <a:gs pos="97196">
                      <a:schemeClr val="accent5"/>
                    </a:gs>
                    <a:gs pos="61000">
                      <a:schemeClr val="accent1"/>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accent3"/>
                    </a:gs>
                    <a:gs pos="97196">
                      <a:schemeClr val="accent5"/>
                    </a:gs>
                    <a:gs pos="61000">
                      <a:schemeClr val="accent1"/>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77776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wo Column Bullet with Subheads">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C1F22C-2B1A-F6F0-294E-A5EF9CCFED6E}"/>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 name="Rectangle: Rounded Corners 2">
            <a:extLst>
              <a:ext uri="{FF2B5EF4-FFF2-40B4-BE49-F238E27FC236}">
                <a16:creationId xmlns:a16="http://schemas.microsoft.com/office/drawing/2014/main" id="{9405749C-C9B4-C521-8C9B-11C31335193D}"/>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9" name="Rectangle: Rounded Corners 8">
            <a:extLst>
              <a:ext uri="{FF2B5EF4-FFF2-40B4-BE49-F238E27FC236}">
                <a16:creationId xmlns:a16="http://schemas.microsoft.com/office/drawing/2014/main" id="{6E17841F-0E6D-8C6C-F881-8C74D0940C00}"/>
              </a:ext>
            </a:extLst>
          </p:cNvPr>
          <p:cNvSpPr/>
          <p:nvPr userDrawn="1"/>
        </p:nvSpPr>
        <p:spPr bwMode="auto">
          <a:xfrm rot="10800000" flipH="1" flipV="1">
            <a:off x="584200" y="1436687"/>
            <a:ext cx="5219700" cy="644525"/>
          </a:xfrm>
          <a:prstGeom prst="roundRect">
            <a:avLst>
              <a:gd name="adj" fmla="val 31900"/>
            </a:avLst>
          </a:prstGeom>
          <a:solidFill>
            <a:srgbClr val="C3E5FF"/>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4" name="Rectangle: Rounded Corners 3">
            <a:extLst>
              <a:ext uri="{FF2B5EF4-FFF2-40B4-BE49-F238E27FC236}">
                <a16:creationId xmlns:a16="http://schemas.microsoft.com/office/drawing/2014/main" id="{71308E59-3ACE-64FB-C5EE-5AAAF9A10072}"/>
              </a:ext>
            </a:extLst>
          </p:cNvPr>
          <p:cNvSpPr/>
          <p:nvPr userDrawn="1"/>
        </p:nvSpPr>
        <p:spPr bwMode="auto">
          <a:xfrm rot="10800000" flipH="1" flipV="1">
            <a:off x="6397625" y="1436688"/>
            <a:ext cx="5219700" cy="644525"/>
          </a:xfrm>
          <a:prstGeom prst="roundRect">
            <a:avLst>
              <a:gd name="adj" fmla="val 31900"/>
            </a:avLst>
          </a:prstGeom>
          <a:solidFill>
            <a:srgbClr val="C3E5FF"/>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4820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mputer slide_blac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627182-25F3-985C-C7BF-D8AFBD4C8DA6}"/>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22C7F341-B199-A0F1-2E33-BC41D9BB8BF8}"/>
              </a:ext>
            </a:extLst>
          </p:cNvPr>
          <p:cNvGrpSpPr/>
          <p:nvPr userDrawn="1"/>
        </p:nvGrpSpPr>
        <p:grpSpPr>
          <a:xfrm>
            <a:off x="6339102" y="-734994"/>
            <a:ext cx="7322981" cy="6854735"/>
            <a:chOff x="6339102" y="-734994"/>
            <a:chExt cx="7322981" cy="6854735"/>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alpha val="0"/>
                  </a:srgbClr>
                </a:gs>
                <a:gs pos="100000">
                  <a:schemeClr val="accent5"/>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5">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gr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76341"/>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93687"/>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11" name="Picture Placeholder 3">
            <a:extLst>
              <a:ext uri="{FF2B5EF4-FFF2-40B4-BE49-F238E27FC236}">
                <a16:creationId xmlns:a16="http://schemas.microsoft.com/office/drawing/2014/main" id="{26B46093-466F-5728-35CE-BC376C4CF9CA}"/>
              </a:ext>
            </a:extLst>
          </p:cNvPr>
          <p:cNvSpPr>
            <a:spLocks noGrp="1"/>
          </p:cNvSpPr>
          <p:nvPr>
            <p:ph type="pic" sz="quarter" idx="12"/>
          </p:nvPr>
        </p:nvSpPr>
        <p:spPr>
          <a:xfrm>
            <a:off x="4895850" y="1622198"/>
            <a:ext cx="6381749"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8448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mputer slide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AF024-DF0F-6F4E-B648-CC17470CF719}"/>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0783932-2FAF-F03E-0C6C-AE9D2DA2D4FF}"/>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alpha val="0"/>
                </a:srgbClr>
              </a:gs>
              <a:gs pos="100000">
                <a:schemeClr val="accent5"/>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8" name="Freeform: Shape 7">
            <a:extLst>
              <a:ext uri="{FF2B5EF4-FFF2-40B4-BE49-F238E27FC236}">
                <a16:creationId xmlns:a16="http://schemas.microsoft.com/office/drawing/2014/main" id="{0A44E0DE-A4E5-69A5-4033-A8026EE10B35}"/>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5">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44097"/>
          <a:stretch>
            <a:fillRect/>
          </a:stretch>
        </p:blipFill>
        <p:spPr>
          <a:xfrm>
            <a:off x="1576737" y="365046"/>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2">
            <a:extLst>
              <a:ext uri="{28A0092B-C50C-407E-A947-70E740481C1C}">
                <a14:useLocalDpi xmlns:a14="http://schemas.microsoft.com/office/drawing/2010/main" val="0"/>
              </a:ext>
            </a:extLst>
          </a:blip>
          <a:srcRect t="55903" r="18604" b="5469"/>
          <a:stretch>
            <a:fillRect/>
          </a:stretch>
        </p:blipFill>
        <p:spPr>
          <a:xfrm>
            <a:off x="1576737" y="3726941"/>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3" name="Picture Placeholder 3">
            <a:extLst>
              <a:ext uri="{FF2B5EF4-FFF2-40B4-BE49-F238E27FC236}">
                <a16:creationId xmlns:a16="http://schemas.microsoft.com/office/drawing/2014/main" id="{E3B3B89C-2AB1-C186-B0D3-3C8E3F7E5D83}"/>
              </a:ext>
            </a:extLst>
          </p:cNvPr>
          <p:cNvSpPr>
            <a:spLocks noGrp="1"/>
          </p:cNvSpPr>
          <p:nvPr userDrawn="1">
            <p:ph type="pic" sz="quarter" idx="12"/>
          </p:nvPr>
        </p:nvSpPr>
        <p:spPr>
          <a:xfrm>
            <a:off x="4895851" y="1622880"/>
            <a:ext cx="6365080"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6BA2998A-0C85-2B3D-B1D2-E72F406F4E7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59014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41499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uter slide_Light_Grey">
    <p:bg>
      <p:bgRef idx="1001">
        <a:schemeClr val="bg1"/>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C388186-ABC7-41BF-4BB1-AFBE284C8A6D}"/>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24FA7DCC-EB71-5F85-BF43-EA7FA6317F7B}"/>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44097"/>
          <a:stretch>
            <a:fillRect/>
          </a:stretch>
        </p:blipFill>
        <p:spPr>
          <a:xfrm>
            <a:off x="1576737" y="376670"/>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2">
            <a:extLst>
              <a:ext uri="{28A0092B-C50C-407E-A947-70E740481C1C}">
                <a14:useLocalDpi xmlns:a14="http://schemas.microsoft.com/office/drawing/2010/main" val="0"/>
              </a:ext>
            </a:extLst>
          </a:blip>
          <a:srcRect t="55903" r="18604" b="5469"/>
          <a:stretch>
            <a:fillRect/>
          </a:stretch>
        </p:blipFill>
        <p:spPr>
          <a:xfrm>
            <a:off x="1576737" y="3738565"/>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11" name="Picture Placeholder 3">
            <a:extLst>
              <a:ext uri="{FF2B5EF4-FFF2-40B4-BE49-F238E27FC236}">
                <a16:creationId xmlns:a16="http://schemas.microsoft.com/office/drawing/2014/main" id="{323A1DFD-1FF8-E907-5F33-71FC81529B15}"/>
              </a:ext>
            </a:extLst>
          </p:cNvPr>
          <p:cNvSpPr>
            <a:spLocks noGrp="1"/>
          </p:cNvSpPr>
          <p:nvPr>
            <p:ph type="pic" sz="quarter" idx="12"/>
          </p:nvPr>
        </p:nvSpPr>
        <p:spPr>
          <a:xfrm>
            <a:off x="4895851" y="1634504"/>
            <a:ext cx="6365080"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67297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mputer slide_Light_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132618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1974B584-028F-0694-09FF-1D5F4F8274BE}"/>
              </a:ext>
            </a:extLst>
          </p:cNvPr>
          <p:cNvSpPr>
            <a:spLocks/>
          </p:cNvSpPr>
          <p:nvPr userDrawn="1"/>
        </p:nvSpPr>
        <p:spPr bwMode="auto">
          <a:xfrm rot="5400000" flipH="1" flipV="1">
            <a:off x="5756277" y="-166690"/>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58488144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image" Target="../media/image1.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53" Type="http://schemas.openxmlformats.org/officeDocument/2006/relationships/slideLayout" Target="../slideLayouts/slideLayout140.xml"/><Relationship Id="rId58" Type="http://schemas.openxmlformats.org/officeDocument/2006/relationships/theme" Target="../theme/theme2.xml"/><Relationship Id="rId5" Type="http://schemas.openxmlformats.org/officeDocument/2006/relationships/slideLayout" Target="../slideLayouts/slideLayout92.xml"/><Relationship Id="rId61" Type="http://schemas.openxmlformats.org/officeDocument/2006/relationships/image" Target="../media/image44.png"/><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slideLayout" Target="../slideLayouts/slideLayout143.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59" Type="http://schemas.openxmlformats.org/officeDocument/2006/relationships/image" Target="../media/image42.png"/><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62" Type="http://schemas.openxmlformats.org/officeDocument/2006/relationships/image" Target="../media/image45.svg"/><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slideLayout" Target="../slideLayouts/slideLayout144.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60" Type="http://schemas.openxmlformats.org/officeDocument/2006/relationships/image" Target="../media/image43.svg"/><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slideLayout" Target="../slideLayouts/slideLayout186.xml"/><Relationship Id="rId47" Type="http://schemas.openxmlformats.org/officeDocument/2006/relationships/slideLayout" Target="../slideLayouts/slideLayout191.xml"/><Relationship Id="rId50" Type="http://schemas.openxmlformats.org/officeDocument/2006/relationships/slideLayout" Target="../slideLayouts/slideLayout194.xml"/><Relationship Id="rId55" Type="http://schemas.openxmlformats.org/officeDocument/2006/relationships/tags" Target="../tags/tag1.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9" Type="http://schemas.openxmlformats.org/officeDocument/2006/relationships/slideLayout" Target="../slideLayouts/slideLayout173.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slideLayout" Target="../slideLayouts/slideLayout189.xml"/><Relationship Id="rId53" Type="http://schemas.openxmlformats.org/officeDocument/2006/relationships/slideLayout" Target="../slideLayouts/slideLayout197.xml"/><Relationship Id="rId58" Type="http://schemas.openxmlformats.org/officeDocument/2006/relationships/image" Target="../media/image44.png"/><Relationship Id="rId5" Type="http://schemas.openxmlformats.org/officeDocument/2006/relationships/slideLayout" Target="../slideLayouts/slideLayout149.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slideLayout" Target="../slideLayouts/slideLayout187.xml"/><Relationship Id="rId48" Type="http://schemas.openxmlformats.org/officeDocument/2006/relationships/slideLayout" Target="../slideLayouts/slideLayout192.xml"/><Relationship Id="rId56" Type="http://schemas.openxmlformats.org/officeDocument/2006/relationships/oleObject" Target="../embeddings/oleObject1.bin"/><Relationship Id="rId8" Type="http://schemas.openxmlformats.org/officeDocument/2006/relationships/slideLayout" Target="../slideLayouts/slideLayout152.xml"/><Relationship Id="rId51" Type="http://schemas.openxmlformats.org/officeDocument/2006/relationships/slideLayout" Target="../slideLayouts/slideLayout195.xml"/><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slideLayout" Target="../slideLayouts/slideLayout190.xml"/><Relationship Id="rId59" Type="http://schemas.openxmlformats.org/officeDocument/2006/relationships/image" Target="../media/image45.svg"/><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54" Type="http://schemas.openxmlformats.org/officeDocument/2006/relationships/theme" Target="../theme/theme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slideLayout" Target="../slideLayouts/slideLayout193.xml"/><Relationship Id="rId57" Type="http://schemas.openxmlformats.org/officeDocument/2006/relationships/image" Target="../media/image54.emf"/><Relationship Id="rId10" Type="http://schemas.openxmlformats.org/officeDocument/2006/relationships/slideLayout" Target="../slideLayouts/slideLayout154.xml"/><Relationship Id="rId31" Type="http://schemas.openxmlformats.org/officeDocument/2006/relationships/slideLayout" Target="../slideLayouts/slideLayout175.xml"/><Relationship Id="rId44" Type="http://schemas.openxmlformats.org/officeDocument/2006/relationships/slideLayout" Target="../slideLayouts/slideLayout188.xml"/><Relationship Id="rId52" Type="http://schemas.openxmlformats.org/officeDocument/2006/relationships/slideLayout" Target="../slideLayouts/slideLayout19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slideLayout" Target="../slideLayouts/slideLayout236.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42" Type="http://schemas.openxmlformats.org/officeDocument/2006/relationships/slideLayout" Target="../slideLayouts/slideLayout239.xml"/><Relationship Id="rId47" Type="http://schemas.openxmlformats.org/officeDocument/2006/relationships/slideLayout" Target="../slideLayouts/slideLayout244.xml"/><Relationship Id="rId50" Type="http://schemas.openxmlformats.org/officeDocument/2006/relationships/slideLayout" Target="../slideLayouts/slideLayout247.xml"/><Relationship Id="rId55" Type="http://schemas.openxmlformats.org/officeDocument/2006/relationships/slideLayout" Target="../slideLayouts/slideLayout252.xml"/><Relationship Id="rId63" Type="http://schemas.openxmlformats.org/officeDocument/2006/relationships/image" Target="../media/image45.svg"/><Relationship Id="rId7" Type="http://schemas.openxmlformats.org/officeDocument/2006/relationships/slideLayout" Target="../slideLayouts/slideLayout20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9" Type="http://schemas.openxmlformats.org/officeDocument/2006/relationships/slideLayout" Target="../slideLayouts/slideLayout226.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slideLayout" Target="../slideLayouts/slideLayout234.xml"/><Relationship Id="rId40" Type="http://schemas.openxmlformats.org/officeDocument/2006/relationships/slideLayout" Target="../slideLayouts/slideLayout237.xml"/><Relationship Id="rId45" Type="http://schemas.openxmlformats.org/officeDocument/2006/relationships/slideLayout" Target="../slideLayouts/slideLayout242.xml"/><Relationship Id="rId53" Type="http://schemas.openxmlformats.org/officeDocument/2006/relationships/slideLayout" Target="../slideLayouts/slideLayout250.xml"/><Relationship Id="rId58" Type="http://schemas.openxmlformats.org/officeDocument/2006/relationships/slideLayout" Target="../slideLayouts/slideLayout255.xml"/><Relationship Id="rId5" Type="http://schemas.openxmlformats.org/officeDocument/2006/relationships/slideLayout" Target="../slideLayouts/slideLayout202.xml"/><Relationship Id="rId61" Type="http://schemas.openxmlformats.org/officeDocument/2006/relationships/image" Target="../media/image43.svg"/><Relationship Id="rId19" Type="http://schemas.openxmlformats.org/officeDocument/2006/relationships/slideLayout" Target="../slideLayouts/slideLayout21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43" Type="http://schemas.openxmlformats.org/officeDocument/2006/relationships/slideLayout" Target="../slideLayouts/slideLayout240.xml"/><Relationship Id="rId48" Type="http://schemas.openxmlformats.org/officeDocument/2006/relationships/slideLayout" Target="../slideLayouts/slideLayout245.xml"/><Relationship Id="rId56" Type="http://schemas.openxmlformats.org/officeDocument/2006/relationships/slideLayout" Target="../slideLayouts/slideLayout253.xml"/><Relationship Id="rId8" Type="http://schemas.openxmlformats.org/officeDocument/2006/relationships/slideLayout" Target="../slideLayouts/slideLayout205.xml"/><Relationship Id="rId51" Type="http://schemas.openxmlformats.org/officeDocument/2006/relationships/slideLayout" Target="../slideLayouts/slideLayout248.xml"/><Relationship Id="rId3" Type="http://schemas.openxmlformats.org/officeDocument/2006/relationships/slideLayout" Target="../slideLayouts/slideLayout200.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slideLayout" Target="../slideLayouts/slideLayout235.xml"/><Relationship Id="rId46" Type="http://schemas.openxmlformats.org/officeDocument/2006/relationships/slideLayout" Target="../slideLayouts/slideLayout243.xml"/><Relationship Id="rId59" Type="http://schemas.openxmlformats.org/officeDocument/2006/relationships/theme" Target="../theme/theme4.xml"/><Relationship Id="rId20" Type="http://schemas.openxmlformats.org/officeDocument/2006/relationships/slideLayout" Target="../slideLayouts/slideLayout217.xml"/><Relationship Id="rId41" Type="http://schemas.openxmlformats.org/officeDocument/2006/relationships/slideLayout" Target="../slideLayouts/slideLayout238.xml"/><Relationship Id="rId54" Type="http://schemas.openxmlformats.org/officeDocument/2006/relationships/slideLayout" Target="../slideLayouts/slideLayout251.xml"/><Relationship Id="rId62" Type="http://schemas.openxmlformats.org/officeDocument/2006/relationships/image" Target="../media/image44.png"/><Relationship Id="rId1" Type="http://schemas.openxmlformats.org/officeDocument/2006/relationships/slideLayout" Target="../slideLayouts/slideLayout198.xml"/><Relationship Id="rId6" Type="http://schemas.openxmlformats.org/officeDocument/2006/relationships/slideLayout" Target="../slideLayouts/slideLayout203.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slideLayout" Target="../slideLayouts/slideLayout233.xml"/><Relationship Id="rId49" Type="http://schemas.openxmlformats.org/officeDocument/2006/relationships/slideLayout" Target="../slideLayouts/slideLayout246.xml"/><Relationship Id="rId57" Type="http://schemas.openxmlformats.org/officeDocument/2006/relationships/slideLayout" Target="../slideLayouts/slideLayout254.xml"/><Relationship Id="rId10" Type="http://schemas.openxmlformats.org/officeDocument/2006/relationships/slideLayout" Target="../slideLayouts/slideLayout207.xml"/><Relationship Id="rId31" Type="http://schemas.openxmlformats.org/officeDocument/2006/relationships/slideLayout" Target="../slideLayouts/slideLayout228.xml"/><Relationship Id="rId44" Type="http://schemas.openxmlformats.org/officeDocument/2006/relationships/slideLayout" Target="../slideLayouts/slideLayout241.xml"/><Relationship Id="rId52" Type="http://schemas.openxmlformats.org/officeDocument/2006/relationships/slideLayout" Target="../slideLayouts/slideLayout249.xml"/><Relationship Id="rId60" Type="http://schemas.openxmlformats.org/officeDocument/2006/relationships/image" Target="../media/image42.png"/><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81.xml"/><Relationship Id="rId21" Type="http://schemas.openxmlformats.org/officeDocument/2006/relationships/slideLayout" Target="../slideLayouts/slideLayout276.xml"/><Relationship Id="rId42" Type="http://schemas.openxmlformats.org/officeDocument/2006/relationships/slideLayout" Target="../slideLayouts/slideLayout297.xml"/><Relationship Id="rId47" Type="http://schemas.openxmlformats.org/officeDocument/2006/relationships/slideLayout" Target="../slideLayouts/slideLayout302.xml"/><Relationship Id="rId63" Type="http://schemas.openxmlformats.org/officeDocument/2006/relationships/slideLayout" Target="../slideLayouts/slideLayout318.xml"/><Relationship Id="rId68" Type="http://schemas.openxmlformats.org/officeDocument/2006/relationships/slideLayout" Target="../slideLayouts/slideLayout323.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9" Type="http://schemas.openxmlformats.org/officeDocument/2006/relationships/slideLayout" Target="../slideLayouts/slideLayout284.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32" Type="http://schemas.openxmlformats.org/officeDocument/2006/relationships/slideLayout" Target="../slideLayouts/slideLayout287.xml"/><Relationship Id="rId37" Type="http://schemas.openxmlformats.org/officeDocument/2006/relationships/slideLayout" Target="../slideLayouts/slideLayout292.xml"/><Relationship Id="rId40" Type="http://schemas.openxmlformats.org/officeDocument/2006/relationships/slideLayout" Target="../slideLayouts/slideLayout295.xml"/><Relationship Id="rId45" Type="http://schemas.openxmlformats.org/officeDocument/2006/relationships/slideLayout" Target="../slideLayouts/slideLayout300.xml"/><Relationship Id="rId53" Type="http://schemas.openxmlformats.org/officeDocument/2006/relationships/slideLayout" Target="../slideLayouts/slideLayout308.xml"/><Relationship Id="rId58" Type="http://schemas.openxmlformats.org/officeDocument/2006/relationships/slideLayout" Target="../slideLayouts/slideLayout313.xml"/><Relationship Id="rId66" Type="http://schemas.openxmlformats.org/officeDocument/2006/relationships/slideLayout" Target="../slideLayouts/slideLayout321.xml"/><Relationship Id="rId74" Type="http://schemas.openxmlformats.org/officeDocument/2006/relationships/slideLayout" Target="../slideLayouts/slideLayout329.xml"/><Relationship Id="rId5" Type="http://schemas.openxmlformats.org/officeDocument/2006/relationships/slideLayout" Target="../slideLayouts/slideLayout260.xml"/><Relationship Id="rId61" Type="http://schemas.openxmlformats.org/officeDocument/2006/relationships/slideLayout" Target="../slideLayouts/slideLayout316.xml"/><Relationship Id="rId19" Type="http://schemas.openxmlformats.org/officeDocument/2006/relationships/slideLayout" Target="../slideLayouts/slideLayout27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slideLayout" Target="../slideLayouts/slideLayout285.xml"/><Relationship Id="rId35" Type="http://schemas.openxmlformats.org/officeDocument/2006/relationships/slideLayout" Target="../slideLayouts/slideLayout290.xml"/><Relationship Id="rId43" Type="http://schemas.openxmlformats.org/officeDocument/2006/relationships/slideLayout" Target="../slideLayouts/slideLayout298.xml"/><Relationship Id="rId48" Type="http://schemas.openxmlformats.org/officeDocument/2006/relationships/slideLayout" Target="../slideLayouts/slideLayout303.xml"/><Relationship Id="rId56" Type="http://schemas.openxmlformats.org/officeDocument/2006/relationships/slideLayout" Target="../slideLayouts/slideLayout311.xml"/><Relationship Id="rId64" Type="http://schemas.openxmlformats.org/officeDocument/2006/relationships/slideLayout" Target="../slideLayouts/slideLayout319.xml"/><Relationship Id="rId69" Type="http://schemas.openxmlformats.org/officeDocument/2006/relationships/slideLayout" Target="../slideLayouts/slideLayout324.xml"/><Relationship Id="rId8" Type="http://schemas.openxmlformats.org/officeDocument/2006/relationships/slideLayout" Target="../slideLayouts/slideLayout263.xml"/><Relationship Id="rId51" Type="http://schemas.openxmlformats.org/officeDocument/2006/relationships/slideLayout" Target="../slideLayouts/slideLayout306.xml"/><Relationship Id="rId72" Type="http://schemas.openxmlformats.org/officeDocument/2006/relationships/slideLayout" Target="../slideLayouts/slideLayout327.xml"/><Relationship Id="rId3" Type="http://schemas.openxmlformats.org/officeDocument/2006/relationships/slideLayout" Target="../slideLayouts/slideLayout258.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33" Type="http://schemas.openxmlformats.org/officeDocument/2006/relationships/slideLayout" Target="../slideLayouts/slideLayout288.xml"/><Relationship Id="rId38" Type="http://schemas.openxmlformats.org/officeDocument/2006/relationships/slideLayout" Target="../slideLayouts/slideLayout293.xml"/><Relationship Id="rId46" Type="http://schemas.openxmlformats.org/officeDocument/2006/relationships/slideLayout" Target="../slideLayouts/slideLayout301.xml"/><Relationship Id="rId59" Type="http://schemas.openxmlformats.org/officeDocument/2006/relationships/slideLayout" Target="../slideLayouts/slideLayout314.xml"/><Relationship Id="rId67" Type="http://schemas.openxmlformats.org/officeDocument/2006/relationships/slideLayout" Target="../slideLayouts/slideLayout322.xml"/><Relationship Id="rId20" Type="http://schemas.openxmlformats.org/officeDocument/2006/relationships/slideLayout" Target="../slideLayouts/slideLayout275.xml"/><Relationship Id="rId41" Type="http://schemas.openxmlformats.org/officeDocument/2006/relationships/slideLayout" Target="../slideLayouts/slideLayout296.xml"/><Relationship Id="rId54" Type="http://schemas.openxmlformats.org/officeDocument/2006/relationships/slideLayout" Target="../slideLayouts/slideLayout309.xml"/><Relationship Id="rId62" Type="http://schemas.openxmlformats.org/officeDocument/2006/relationships/slideLayout" Target="../slideLayouts/slideLayout317.xml"/><Relationship Id="rId70" Type="http://schemas.openxmlformats.org/officeDocument/2006/relationships/slideLayout" Target="../slideLayouts/slideLayout325.xml"/><Relationship Id="rId75" Type="http://schemas.openxmlformats.org/officeDocument/2006/relationships/theme" Target="../theme/theme5.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36" Type="http://schemas.openxmlformats.org/officeDocument/2006/relationships/slideLayout" Target="../slideLayouts/slideLayout291.xml"/><Relationship Id="rId49" Type="http://schemas.openxmlformats.org/officeDocument/2006/relationships/slideLayout" Target="../slideLayouts/slideLayout304.xml"/><Relationship Id="rId57" Type="http://schemas.openxmlformats.org/officeDocument/2006/relationships/slideLayout" Target="../slideLayouts/slideLayout312.xml"/><Relationship Id="rId10" Type="http://schemas.openxmlformats.org/officeDocument/2006/relationships/slideLayout" Target="../slideLayouts/slideLayout265.xml"/><Relationship Id="rId31" Type="http://schemas.openxmlformats.org/officeDocument/2006/relationships/slideLayout" Target="../slideLayouts/slideLayout286.xml"/><Relationship Id="rId44" Type="http://schemas.openxmlformats.org/officeDocument/2006/relationships/slideLayout" Target="../slideLayouts/slideLayout299.xml"/><Relationship Id="rId52" Type="http://schemas.openxmlformats.org/officeDocument/2006/relationships/slideLayout" Target="../slideLayouts/slideLayout307.xml"/><Relationship Id="rId60" Type="http://schemas.openxmlformats.org/officeDocument/2006/relationships/slideLayout" Target="../slideLayouts/slideLayout315.xml"/><Relationship Id="rId65" Type="http://schemas.openxmlformats.org/officeDocument/2006/relationships/slideLayout" Target="../slideLayouts/slideLayout320.xml"/><Relationship Id="rId73" Type="http://schemas.openxmlformats.org/officeDocument/2006/relationships/slideLayout" Target="../slideLayouts/slideLayout328.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39" Type="http://schemas.openxmlformats.org/officeDocument/2006/relationships/slideLayout" Target="../slideLayouts/slideLayout294.xml"/><Relationship Id="rId34" Type="http://schemas.openxmlformats.org/officeDocument/2006/relationships/slideLayout" Target="../slideLayouts/slideLayout289.xml"/><Relationship Id="rId50" Type="http://schemas.openxmlformats.org/officeDocument/2006/relationships/slideLayout" Target="../slideLayouts/slideLayout305.xml"/><Relationship Id="rId55" Type="http://schemas.openxmlformats.org/officeDocument/2006/relationships/slideLayout" Target="../slideLayouts/slideLayout310.xml"/><Relationship Id="rId76" Type="http://schemas.openxmlformats.org/officeDocument/2006/relationships/image" Target="../media/image1.emf"/><Relationship Id="rId7" Type="http://schemas.openxmlformats.org/officeDocument/2006/relationships/slideLayout" Target="../slideLayouts/slideLayout262.xml"/><Relationship Id="rId71" Type="http://schemas.openxmlformats.org/officeDocument/2006/relationships/slideLayout" Target="../slideLayouts/slideLayout32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9" Type="http://schemas.openxmlformats.org/officeDocument/2006/relationships/slideLayout" Target="../slideLayouts/slideLayout368.xml"/><Relationship Id="rId21" Type="http://schemas.openxmlformats.org/officeDocument/2006/relationships/slideLayout" Target="../slideLayouts/slideLayout350.xml"/><Relationship Id="rId34" Type="http://schemas.openxmlformats.org/officeDocument/2006/relationships/slideLayout" Target="../slideLayouts/slideLayout363.xml"/><Relationship Id="rId42" Type="http://schemas.openxmlformats.org/officeDocument/2006/relationships/slideLayout" Target="../slideLayouts/slideLayout371.xml"/><Relationship Id="rId47" Type="http://schemas.openxmlformats.org/officeDocument/2006/relationships/slideLayout" Target="../slideLayouts/slideLayout376.xml"/><Relationship Id="rId50" Type="http://schemas.openxmlformats.org/officeDocument/2006/relationships/slideLayout" Target="../slideLayouts/slideLayout379.xml"/><Relationship Id="rId55" Type="http://schemas.openxmlformats.org/officeDocument/2006/relationships/slideLayout" Target="../slideLayouts/slideLayout384.xml"/><Relationship Id="rId63" Type="http://schemas.openxmlformats.org/officeDocument/2006/relationships/image" Target="../media/image44.png"/><Relationship Id="rId7" Type="http://schemas.openxmlformats.org/officeDocument/2006/relationships/slideLayout" Target="../slideLayouts/slideLayout336.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9" Type="http://schemas.openxmlformats.org/officeDocument/2006/relationships/slideLayout" Target="../slideLayouts/slideLayout358.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37" Type="http://schemas.openxmlformats.org/officeDocument/2006/relationships/slideLayout" Target="../slideLayouts/slideLayout366.xml"/><Relationship Id="rId40" Type="http://schemas.openxmlformats.org/officeDocument/2006/relationships/slideLayout" Target="../slideLayouts/slideLayout369.xml"/><Relationship Id="rId45" Type="http://schemas.openxmlformats.org/officeDocument/2006/relationships/slideLayout" Target="../slideLayouts/slideLayout374.xml"/><Relationship Id="rId53" Type="http://schemas.openxmlformats.org/officeDocument/2006/relationships/slideLayout" Target="../slideLayouts/slideLayout382.xml"/><Relationship Id="rId58" Type="http://schemas.openxmlformats.org/officeDocument/2006/relationships/slideLayout" Target="../slideLayouts/slideLayout387.xml"/><Relationship Id="rId5" Type="http://schemas.openxmlformats.org/officeDocument/2006/relationships/slideLayout" Target="../slideLayouts/slideLayout334.xml"/><Relationship Id="rId61" Type="http://schemas.openxmlformats.org/officeDocument/2006/relationships/image" Target="../media/image42.png"/><Relationship Id="rId19" Type="http://schemas.openxmlformats.org/officeDocument/2006/relationships/slideLayout" Target="../slideLayouts/slideLayout34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35" Type="http://schemas.openxmlformats.org/officeDocument/2006/relationships/slideLayout" Target="../slideLayouts/slideLayout364.xml"/><Relationship Id="rId43" Type="http://schemas.openxmlformats.org/officeDocument/2006/relationships/slideLayout" Target="../slideLayouts/slideLayout372.xml"/><Relationship Id="rId48" Type="http://schemas.openxmlformats.org/officeDocument/2006/relationships/slideLayout" Target="../slideLayouts/slideLayout377.xml"/><Relationship Id="rId56" Type="http://schemas.openxmlformats.org/officeDocument/2006/relationships/slideLayout" Target="../slideLayouts/slideLayout385.xml"/><Relationship Id="rId64" Type="http://schemas.openxmlformats.org/officeDocument/2006/relationships/image" Target="../media/image45.svg"/><Relationship Id="rId8" Type="http://schemas.openxmlformats.org/officeDocument/2006/relationships/slideLayout" Target="../slideLayouts/slideLayout337.xml"/><Relationship Id="rId51" Type="http://schemas.openxmlformats.org/officeDocument/2006/relationships/slideLayout" Target="../slideLayouts/slideLayout380.xml"/><Relationship Id="rId3" Type="http://schemas.openxmlformats.org/officeDocument/2006/relationships/slideLayout" Target="../slideLayouts/slideLayout332.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slideLayout" Target="../slideLayouts/slideLayout362.xml"/><Relationship Id="rId38" Type="http://schemas.openxmlformats.org/officeDocument/2006/relationships/slideLayout" Target="../slideLayouts/slideLayout367.xml"/><Relationship Id="rId46" Type="http://schemas.openxmlformats.org/officeDocument/2006/relationships/slideLayout" Target="../slideLayouts/slideLayout375.xml"/><Relationship Id="rId59" Type="http://schemas.openxmlformats.org/officeDocument/2006/relationships/slideLayout" Target="../slideLayouts/slideLayout388.xml"/><Relationship Id="rId20" Type="http://schemas.openxmlformats.org/officeDocument/2006/relationships/slideLayout" Target="../slideLayouts/slideLayout349.xml"/><Relationship Id="rId41" Type="http://schemas.openxmlformats.org/officeDocument/2006/relationships/slideLayout" Target="../slideLayouts/slideLayout370.xml"/><Relationship Id="rId54" Type="http://schemas.openxmlformats.org/officeDocument/2006/relationships/slideLayout" Target="../slideLayouts/slideLayout383.xml"/><Relationship Id="rId62" Type="http://schemas.openxmlformats.org/officeDocument/2006/relationships/image" Target="../media/image43.svg"/><Relationship Id="rId1" Type="http://schemas.openxmlformats.org/officeDocument/2006/relationships/slideLayout" Target="../slideLayouts/slideLayout330.xml"/><Relationship Id="rId6" Type="http://schemas.openxmlformats.org/officeDocument/2006/relationships/slideLayout" Target="../slideLayouts/slideLayout335.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36" Type="http://schemas.openxmlformats.org/officeDocument/2006/relationships/slideLayout" Target="../slideLayouts/slideLayout365.xml"/><Relationship Id="rId49" Type="http://schemas.openxmlformats.org/officeDocument/2006/relationships/slideLayout" Target="../slideLayouts/slideLayout378.xml"/><Relationship Id="rId57" Type="http://schemas.openxmlformats.org/officeDocument/2006/relationships/slideLayout" Target="../slideLayouts/slideLayout386.xml"/><Relationship Id="rId10" Type="http://schemas.openxmlformats.org/officeDocument/2006/relationships/slideLayout" Target="../slideLayouts/slideLayout339.xml"/><Relationship Id="rId31" Type="http://schemas.openxmlformats.org/officeDocument/2006/relationships/slideLayout" Target="../slideLayouts/slideLayout360.xml"/><Relationship Id="rId44" Type="http://schemas.openxmlformats.org/officeDocument/2006/relationships/slideLayout" Target="../slideLayouts/slideLayout373.xml"/><Relationship Id="rId52" Type="http://schemas.openxmlformats.org/officeDocument/2006/relationships/slideLayout" Target="../slideLayouts/slideLayout381.xml"/><Relationship Id="rId60" Type="http://schemas.openxmlformats.org/officeDocument/2006/relationships/theme" Target="../theme/theme6.xml"/><Relationship Id="rId4" Type="http://schemas.openxmlformats.org/officeDocument/2006/relationships/slideLayout" Target="../slideLayouts/slideLayout333.xml"/><Relationship Id="rId9" Type="http://schemas.openxmlformats.org/officeDocument/2006/relationships/slideLayout" Target="../slideLayouts/slideLayout3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189" r:id="rId1"/>
    <p:sldLayoutId id="2147485215" r:id="rId2"/>
    <p:sldLayoutId id="2147485216" r:id="rId3"/>
    <p:sldLayoutId id="2147485227" r:id="rId4"/>
    <p:sldLayoutId id="2147485218" r:id="rId5"/>
    <p:sldLayoutId id="2147485219" r:id="rId6"/>
    <p:sldLayoutId id="2147485220" r:id="rId7"/>
    <p:sldLayoutId id="2147485228" r:id="rId8"/>
    <p:sldLayoutId id="2147485190" r:id="rId9"/>
    <p:sldLayoutId id="2147484610" r:id="rId10"/>
    <p:sldLayoutId id="2147485203" r:id="rId11"/>
    <p:sldLayoutId id="2147485202" r:id="rId12"/>
    <p:sldLayoutId id="2147484710" r:id="rId13"/>
    <p:sldLayoutId id="2147484240" r:id="rId14"/>
    <p:sldLayoutId id="2147484910" r:id="rId15"/>
    <p:sldLayoutId id="2147484911" r:id="rId16"/>
    <p:sldLayoutId id="2147485050" r:id="rId17"/>
    <p:sldLayoutId id="2147485165" r:id="rId18"/>
    <p:sldLayoutId id="2147484941" r:id="rId19"/>
    <p:sldLayoutId id="2147484942" r:id="rId20"/>
    <p:sldLayoutId id="2147485162" r:id="rId21"/>
    <p:sldLayoutId id="2147484639" r:id="rId22"/>
    <p:sldLayoutId id="2147484943" r:id="rId23"/>
    <p:sldLayoutId id="2147484603" r:id="rId24"/>
    <p:sldLayoutId id="2147484833" r:id="rId25"/>
    <p:sldLayoutId id="2147484834" r:id="rId26"/>
    <p:sldLayoutId id="2147484835" r:id="rId27"/>
    <p:sldLayoutId id="2147484922" r:id="rId28"/>
    <p:sldLayoutId id="2147484923" r:id="rId29"/>
    <p:sldLayoutId id="2147484924" r:id="rId30"/>
    <p:sldLayoutId id="2147484839" r:id="rId31"/>
    <p:sldLayoutId id="2147484840" r:id="rId32"/>
    <p:sldLayoutId id="2147484841" r:id="rId33"/>
    <p:sldLayoutId id="2147484842" r:id="rId34"/>
    <p:sldLayoutId id="2147484843" r:id="rId35"/>
    <p:sldLayoutId id="2147484938" r:id="rId36"/>
    <p:sldLayoutId id="2147484939" r:id="rId37"/>
    <p:sldLayoutId id="2147484940" r:id="rId38"/>
    <p:sldLayoutId id="2147485161" r:id="rId39"/>
    <p:sldLayoutId id="2147485152" r:id="rId40"/>
    <p:sldLayoutId id="2147485153" r:id="rId41"/>
    <p:sldLayoutId id="2147485154" r:id="rId42"/>
    <p:sldLayoutId id="2147484944" r:id="rId43"/>
    <p:sldLayoutId id="2147484945" r:id="rId44"/>
    <p:sldLayoutId id="2147485137" r:id="rId45"/>
    <p:sldLayoutId id="2147485138" r:id="rId46"/>
    <p:sldLayoutId id="2147485139" r:id="rId47"/>
    <p:sldLayoutId id="2147485140" r:id="rId48"/>
    <p:sldLayoutId id="2147485141" r:id="rId49"/>
    <p:sldLayoutId id="2147485142" r:id="rId50"/>
    <p:sldLayoutId id="2147485212" r:id="rId51"/>
    <p:sldLayoutId id="2147485213" r:id="rId52"/>
    <p:sldLayoutId id="2147485214" r:id="rId53"/>
    <p:sldLayoutId id="2147485224" r:id="rId54"/>
    <p:sldLayoutId id="2147484249" r:id="rId55"/>
    <p:sldLayoutId id="2147484640" r:id="rId56"/>
    <p:sldLayoutId id="2147485198" r:id="rId57"/>
    <p:sldLayoutId id="2147485199" r:id="rId58"/>
    <p:sldLayoutId id="2147484583" r:id="rId59"/>
    <p:sldLayoutId id="2147484584" r:id="rId60"/>
    <p:sldLayoutId id="2147485206" r:id="rId61"/>
    <p:sldLayoutId id="2147485222" r:id="rId62"/>
    <p:sldLayoutId id="2147485223" r:id="rId63"/>
    <p:sldLayoutId id="2147485226" r:id="rId64"/>
    <p:sldLayoutId id="2147485225" r:id="rId65"/>
    <p:sldLayoutId id="2147485229" r:id="rId66"/>
    <p:sldLayoutId id="2147484671" r:id="rId67"/>
    <p:sldLayoutId id="2147484673" r:id="rId68"/>
    <p:sldLayoutId id="2147485204" r:id="rId69"/>
    <p:sldLayoutId id="2147485205" r:id="rId70"/>
    <p:sldLayoutId id="2147484299" r:id="rId71"/>
    <p:sldLayoutId id="2147484263" r:id="rId72"/>
    <p:sldLayoutId id="2147485517" r:id="rId73"/>
    <p:sldLayoutId id="2147485518" r:id="rId74"/>
    <p:sldLayoutId id="2147485519" r:id="rId75"/>
    <p:sldLayoutId id="2147485520" r:id="rId76"/>
    <p:sldLayoutId id="2147485521" r:id="rId77"/>
    <p:sldLayoutId id="2147485522" r:id="rId78"/>
    <p:sldLayoutId id="2147485523" r:id="rId79"/>
    <p:sldLayoutId id="2147485524" r:id="rId80"/>
    <p:sldLayoutId id="2147485526" r:id="rId81"/>
    <p:sldLayoutId id="2147485527" r:id="rId82"/>
    <p:sldLayoutId id="2147485529" r:id="rId83"/>
    <p:sldLayoutId id="2147485916" r:id="rId84"/>
    <p:sldLayoutId id="2147485917" r:id="rId85"/>
    <p:sldLayoutId id="2147485918" r:id="rId86"/>
    <p:sldLayoutId id="2147485919" r:id="rId8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BD7319C9-8100-14D4-4604-F588D924D44B}"/>
              </a:ext>
            </a:extLst>
          </p:cNvPr>
          <p:cNvGrpSpPr/>
          <p:nvPr userDrawn="1"/>
        </p:nvGrpSpPr>
        <p:grpSpPr>
          <a:xfrm flipH="1" flipV="1">
            <a:off x="0" y="0"/>
            <a:ext cx="12192000" cy="6858000"/>
            <a:chOff x="0" y="0"/>
            <a:chExt cx="12192000" cy="6858000"/>
          </a:xfrm>
        </p:grpSpPr>
        <p:sp>
          <p:nvSpPr>
            <p:cNvPr id="52" name="Rectangle 51" descr="Dark Pattern: Plus dots">
              <a:extLst>
                <a:ext uri="{FF2B5EF4-FFF2-40B4-BE49-F238E27FC236}">
                  <a16:creationId xmlns:a16="http://schemas.microsoft.com/office/drawing/2014/main" id="{69F74468-37D0-88D7-F00F-AAAC44133586}"/>
                </a:ext>
              </a:extLst>
            </p:cNvPr>
            <p:cNvSpPr/>
            <p:nvPr/>
          </p:nvSpPr>
          <p:spPr bwMode="auto">
            <a:xfrm>
              <a:off x="0" y="0"/>
              <a:ext cx="12192000" cy="6842084"/>
            </a:xfrm>
            <a:prstGeom prst="rect">
              <a:avLst/>
            </a:prstGeom>
            <a:blipFill dpi="0" rotWithShape="1">
              <a:blip r:embed="rId59">
                <a:lum bright="-20000"/>
                <a:extLst>
                  <a:ext uri="{96DAC541-7B7A-43D3-8B79-37D633B846F1}">
                    <asvg:svgBlip xmlns:asvg="http://schemas.microsoft.com/office/drawing/2016/SVG/main" r:embed="rId60"/>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4" descr="Dark - small container">
              <a:extLst>
                <a:ext uri="{FF2B5EF4-FFF2-40B4-BE49-F238E27FC236}">
                  <a16:creationId xmlns:a16="http://schemas.microsoft.com/office/drawing/2014/main" id="{DD304ECB-7953-3A59-E8DB-C93605D2E364}"/>
                </a:ext>
              </a:extLst>
            </p:cNvPr>
            <p:cNvSpPr>
              <a:spLocks/>
            </p:cNvSpPr>
            <p:nvPr/>
          </p:nvSpPr>
          <p:spPr bwMode="auto">
            <a:xfrm>
              <a:off x="0" y="0"/>
              <a:ext cx="12192000" cy="6858000"/>
            </a:xfrm>
            <a:prstGeom prst="rect">
              <a:avLst/>
            </a:prstGeom>
            <a:gradFill>
              <a:gsLst>
                <a:gs pos="70000">
                  <a:schemeClr val="bg1"/>
                </a:gs>
                <a:gs pos="95000">
                  <a:schemeClr val="bg1">
                    <a:alpha val="77000"/>
                  </a:schemeClr>
                </a:gs>
                <a:gs pos="25000">
                  <a:schemeClr val="bg1"/>
                </a:gs>
                <a:gs pos="0">
                  <a:schemeClr val="bg1">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1">
            <a:extLst>
              <a:ext uri="{96DAC541-7B7A-43D3-8B79-37D633B846F1}">
                <asvg:svgBlip xmlns:asvg="http://schemas.microsoft.com/office/drawing/2016/SVG/main" r:embed="rId6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816622894"/>
      </p:ext>
    </p:extLst>
  </p:cSld>
  <p:clrMap bg1="lt1" tx1="dk1" bg2="lt2" tx2="dk2" accent1="accent1" accent2="accent2" accent3="accent3" accent4="accent4" accent5="accent5" accent6="accent6" hlink="hlink" folHlink="folHlink"/>
  <p:sldLayoutIdLst>
    <p:sldLayoutId id="2147483732" r:id="rId1"/>
    <p:sldLayoutId id="2147483864" r:id="rId2"/>
    <p:sldLayoutId id="2147483865" r:id="rId3"/>
    <p:sldLayoutId id="2147483736" r:id="rId4"/>
    <p:sldLayoutId id="2147483737" r:id="rId5"/>
    <p:sldLayoutId id="2147483866" r:id="rId6"/>
    <p:sldLayoutId id="2147483852" r:id="rId7"/>
    <p:sldLayoutId id="2147483860" r:id="rId8"/>
    <p:sldLayoutId id="2147483861" r:id="rId9"/>
    <p:sldLayoutId id="2147483862" r:id="rId10"/>
    <p:sldLayoutId id="2147483874" r:id="rId11"/>
    <p:sldLayoutId id="2147483867" r:id="rId12"/>
    <p:sldLayoutId id="2147483863" r:id="rId13"/>
    <p:sldLayoutId id="2147483868" r:id="rId14"/>
    <p:sldLayoutId id="2147483869" r:id="rId15"/>
    <p:sldLayoutId id="2147483870" r:id="rId16"/>
    <p:sldLayoutId id="2147483871" r:id="rId17"/>
    <p:sldLayoutId id="2147483872" r:id="rId18"/>
    <p:sldLayoutId id="2147483873" r:id="rId19"/>
    <p:sldLayoutId id="2147483734" r:id="rId20"/>
    <p:sldLayoutId id="2147483733" r:id="rId21"/>
    <p:sldLayoutId id="2147483735"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70" r:id="rId50"/>
    <p:sldLayoutId id="2147483771" r:id="rId51"/>
    <p:sldLayoutId id="2147483772" r:id="rId52"/>
    <p:sldLayoutId id="2147483773" r:id="rId53"/>
    <p:sldLayoutId id="2147483774" r:id="rId54"/>
    <p:sldLayoutId id="2147483775" r:id="rId55"/>
    <p:sldLayoutId id="2147483776" r:id="rId56"/>
    <p:sldLayoutId id="2147483777" r:id="rId5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91F2C"/>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9A8488-8EA5-63C5-0580-441A694228DE}"/>
              </a:ext>
            </a:extLst>
          </p:cNvPr>
          <p:cNvGraphicFramePr>
            <a:graphicFrameLocks noChangeAspect="1"/>
          </p:cNvGraphicFramePr>
          <p:nvPr>
            <p:custDataLst>
              <p:tags r:id="rId55"/>
            </p:custDataLst>
            <p:extLst>
              <p:ext uri="{D42A27DB-BD31-4B8C-83A1-F6EECF244321}">
                <p14:modId xmlns:p14="http://schemas.microsoft.com/office/powerpoint/2010/main" val="1567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25" imgH="424" progId="TCLayout.ActiveDocument.1">
                  <p:embed/>
                </p:oleObj>
              </mc:Choice>
              <mc:Fallback>
                <p:oleObj name="think-cell Slide" r:id="rId56" imgW="425" imgH="424" progId="TCLayout.ActiveDocument.1">
                  <p:embed/>
                  <p:pic>
                    <p:nvPicPr>
                      <p:cNvPr id="2" name="think-cell data - do not delete" hidden="1">
                        <a:extLst>
                          <a:ext uri="{FF2B5EF4-FFF2-40B4-BE49-F238E27FC236}">
                            <a16:creationId xmlns:a16="http://schemas.microsoft.com/office/drawing/2014/main" id="{319A8488-8EA5-63C5-0580-441A694228DE}"/>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33C84D9-3E6C-749E-1A7B-17A2498380EB}"/>
              </a:ext>
            </a:extLst>
          </p:cNvPr>
          <p:cNvPicPr>
            <a:picLocks noChangeAspect="1"/>
          </p:cNvPicPr>
          <p:nvPr userDrawn="1"/>
        </p:nvPicPr>
        <p:blipFill>
          <a:blip r:embed="rId58">
            <a:extLst>
              <a:ext uri="{96DAC541-7B7A-43D3-8B79-37D633B846F1}">
                <asvg:svgBlip xmlns:asvg="http://schemas.microsoft.com/office/drawing/2016/SVG/main" r:embed="rId59"/>
              </a:ext>
            </a:extLst>
          </a:blip>
          <a:srcRect/>
          <a:stretch/>
        </p:blipFill>
        <p:spPr>
          <a:xfrm rot="5400000">
            <a:off x="9509919" y="2743200"/>
            <a:ext cx="6858000" cy="1371600"/>
          </a:xfrm>
          <a:prstGeom prst="rect">
            <a:avLst/>
          </a:prstGeom>
        </p:spPr>
      </p:pic>
      <p:sp>
        <p:nvSpPr>
          <p:cNvPr id="4" name="TextBox 2">
            <a:extLst>
              <a:ext uri="{FF2B5EF4-FFF2-40B4-BE49-F238E27FC236}">
                <a16:creationId xmlns:a16="http://schemas.microsoft.com/office/drawing/2014/main" id="{96235613-1F14-C6B0-12AA-6E6BE302A7E2}"/>
              </a:ext>
            </a:extLst>
          </p:cNvPr>
          <p:cNvSpPr txBox="1"/>
          <p:nvPr userDrawn="1">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757362605"/>
      </p:ext>
    </p:extLst>
  </p:cSld>
  <p:clrMap bg1="dk1" tx1="lt1" bg2="dk2" tx2="lt2" accent1="accent1" accent2="accent2" accent3="accent3" accent4="accent4" accent5="accent5" accent6="accent6" hlink="hlink" folHlink="folHlink"/>
  <p:sldLayoutIdLst>
    <p:sldLayoutId id="2147485669" r:id="rId1"/>
    <p:sldLayoutId id="2147485670" r:id="rId2"/>
    <p:sldLayoutId id="2147485671" r:id="rId3"/>
    <p:sldLayoutId id="2147485672" r:id="rId4"/>
    <p:sldLayoutId id="2147485673" r:id="rId5"/>
    <p:sldLayoutId id="2147485674" r:id="rId6"/>
    <p:sldLayoutId id="2147485675" r:id="rId7"/>
    <p:sldLayoutId id="2147485676" r:id="rId8"/>
    <p:sldLayoutId id="2147485677" r:id="rId9"/>
    <p:sldLayoutId id="2147485678" r:id="rId10"/>
    <p:sldLayoutId id="2147485679" r:id="rId11"/>
    <p:sldLayoutId id="2147485680" r:id="rId12"/>
    <p:sldLayoutId id="2147485681" r:id="rId13"/>
    <p:sldLayoutId id="2147485682" r:id="rId14"/>
    <p:sldLayoutId id="2147485683" r:id="rId15"/>
    <p:sldLayoutId id="2147485684" r:id="rId16"/>
    <p:sldLayoutId id="2147485685" r:id="rId17"/>
    <p:sldLayoutId id="2147485686" r:id="rId18"/>
    <p:sldLayoutId id="2147485687" r:id="rId19"/>
    <p:sldLayoutId id="2147485688" r:id="rId20"/>
    <p:sldLayoutId id="2147485689" r:id="rId21"/>
    <p:sldLayoutId id="2147485690" r:id="rId22"/>
    <p:sldLayoutId id="2147485691" r:id="rId23"/>
    <p:sldLayoutId id="2147485692" r:id="rId24"/>
    <p:sldLayoutId id="2147485693" r:id="rId25"/>
    <p:sldLayoutId id="2147485694" r:id="rId26"/>
    <p:sldLayoutId id="2147485695" r:id="rId27"/>
    <p:sldLayoutId id="2147485696" r:id="rId28"/>
    <p:sldLayoutId id="2147485697" r:id="rId29"/>
    <p:sldLayoutId id="2147485698" r:id="rId30"/>
    <p:sldLayoutId id="2147485699" r:id="rId31"/>
    <p:sldLayoutId id="2147485700" r:id="rId32"/>
    <p:sldLayoutId id="2147485701" r:id="rId33"/>
    <p:sldLayoutId id="2147485702" r:id="rId34"/>
    <p:sldLayoutId id="2147485703" r:id="rId35"/>
    <p:sldLayoutId id="2147485704" r:id="rId36"/>
    <p:sldLayoutId id="2147485705" r:id="rId37"/>
    <p:sldLayoutId id="2147485706" r:id="rId38"/>
    <p:sldLayoutId id="2147485707" r:id="rId39"/>
    <p:sldLayoutId id="2147485708" r:id="rId40"/>
    <p:sldLayoutId id="2147485709" r:id="rId41"/>
    <p:sldLayoutId id="2147485710" r:id="rId42"/>
    <p:sldLayoutId id="2147485711" r:id="rId43"/>
    <p:sldLayoutId id="2147485712" r:id="rId44"/>
    <p:sldLayoutId id="2147485713" r:id="rId45"/>
    <p:sldLayoutId id="2147485714" r:id="rId46"/>
    <p:sldLayoutId id="2147485715" r:id="rId47"/>
    <p:sldLayoutId id="2147485716" r:id="rId48"/>
    <p:sldLayoutId id="2147485717" r:id="rId49"/>
    <p:sldLayoutId id="2147485718" r:id="rId50"/>
    <p:sldLayoutId id="2147485719" r:id="rId51"/>
    <p:sldLayoutId id="2147485720" r:id="rId52"/>
    <p:sldLayoutId id="2147485721" r:id="rId5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5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F26B43"/>
          </p15:clr>
        </p15:guide>
        <p15:guide id="4" orient="horz" pos="3840">
          <p15:clr>
            <a:srgbClr val="F26B43"/>
          </p15:clr>
        </p15:guide>
        <p15:guide id="5" pos="456">
          <p15:clr>
            <a:srgbClr val="F26B43"/>
          </p15:clr>
        </p15:guide>
        <p15:guide id="6" pos="72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BD7319C9-8100-14D4-4604-F588D924D44B}"/>
              </a:ext>
            </a:extLst>
          </p:cNvPr>
          <p:cNvGrpSpPr/>
          <p:nvPr userDrawn="1"/>
        </p:nvGrpSpPr>
        <p:grpSpPr>
          <a:xfrm flipH="1" flipV="1">
            <a:off x="0" y="0"/>
            <a:ext cx="12192000" cy="6858000"/>
            <a:chOff x="0" y="0"/>
            <a:chExt cx="12192000" cy="6858000"/>
          </a:xfrm>
        </p:grpSpPr>
        <p:sp>
          <p:nvSpPr>
            <p:cNvPr id="52" name="Rectangle 51" descr="Dark Pattern: Plus dots">
              <a:extLst>
                <a:ext uri="{FF2B5EF4-FFF2-40B4-BE49-F238E27FC236}">
                  <a16:creationId xmlns:a16="http://schemas.microsoft.com/office/drawing/2014/main" id="{69F74468-37D0-88D7-F00F-AAAC44133586}"/>
                </a:ext>
              </a:extLst>
            </p:cNvPr>
            <p:cNvSpPr/>
            <p:nvPr/>
          </p:nvSpPr>
          <p:spPr bwMode="auto">
            <a:xfrm>
              <a:off x="0" y="0"/>
              <a:ext cx="12192000" cy="6842084"/>
            </a:xfrm>
            <a:prstGeom prst="rect">
              <a:avLst/>
            </a:prstGeom>
            <a:blipFill dpi="0" rotWithShape="1">
              <a:blip r:embed="rId60">
                <a:lum bright="-20000"/>
                <a:extLst>
                  <a:ext uri="{96DAC541-7B7A-43D3-8B79-37D633B846F1}">
                    <asvg:svgBlip xmlns:asvg="http://schemas.microsoft.com/office/drawing/2016/SVG/main" r:embed="rId61"/>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4" descr="Dark - small container">
              <a:extLst>
                <a:ext uri="{FF2B5EF4-FFF2-40B4-BE49-F238E27FC236}">
                  <a16:creationId xmlns:a16="http://schemas.microsoft.com/office/drawing/2014/main" id="{DD304ECB-7953-3A59-E8DB-C93605D2E364}"/>
                </a:ext>
              </a:extLst>
            </p:cNvPr>
            <p:cNvSpPr>
              <a:spLocks/>
            </p:cNvSpPr>
            <p:nvPr/>
          </p:nvSpPr>
          <p:spPr bwMode="auto">
            <a:xfrm>
              <a:off x="0" y="0"/>
              <a:ext cx="12192000" cy="6858000"/>
            </a:xfrm>
            <a:prstGeom prst="rect">
              <a:avLst/>
            </a:prstGeom>
            <a:gradFill>
              <a:gsLst>
                <a:gs pos="70000">
                  <a:schemeClr val="bg1"/>
                </a:gs>
                <a:gs pos="95000">
                  <a:schemeClr val="bg1">
                    <a:alpha val="77000"/>
                  </a:schemeClr>
                </a:gs>
                <a:gs pos="25000">
                  <a:schemeClr val="bg1"/>
                </a:gs>
                <a:gs pos="0">
                  <a:schemeClr val="bg1">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2">
            <a:extLst>
              <a:ext uri="{96DAC541-7B7A-43D3-8B79-37D633B846F1}">
                <asvg:svgBlip xmlns:asvg="http://schemas.microsoft.com/office/drawing/2016/SVG/main" r:embed="rId6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38934629"/>
      </p:ext>
    </p:extLst>
  </p:cSld>
  <p:clrMap bg1="lt1" tx1="dk1" bg2="lt2" tx2="dk2" accent1="accent1" accent2="accent2" accent3="accent3" accent4="accent4" accent5="accent5" accent6="accent6" hlink="hlink" folHlink="folHlink"/>
  <p:sldLayoutIdLst>
    <p:sldLayoutId id="2147485723" r:id="rId1"/>
    <p:sldLayoutId id="2147485724" r:id="rId2"/>
    <p:sldLayoutId id="2147485725" r:id="rId3"/>
    <p:sldLayoutId id="2147485726" r:id="rId4"/>
    <p:sldLayoutId id="2147485727" r:id="rId5"/>
    <p:sldLayoutId id="2147485728" r:id="rId6"/>
    <p:sldLayoutId id="2147485729" r:id="rId7"/>
    <p:sldLayoutId id="2147485730" r:id="rId8"/>
    <p:sldLayoutId id="2147485731" r:id="rId9"/>
    <p:sldLayoutId id="2147485732" r:id="rId10"/>
    <p:sldLayoutId id="2147485733" r:id="rId11"/>
    <p:sldLayoutId id="2147485734" r:id="rId12"/>
    <p:sldLayoutId id="2147485735" r:id="rId13"/>
    <p:sldLayoutId id="2147485736" r:id="rId14"/>
    <p:sldLayoutId id="2147485737" r:id="rId15"/>
    <p:sldLayoutId id="2147485738" r:id="rId16"/>
    <p:sldLayoutId id="2147485739" r:id="rId17"/>
    <p:sldLayoutId id="2147485740" r:id="rId18"/>
    <p:sldLayoutId id="2147485741" r:id="rId19"/>
    <p:sldLayoutId id="2147485742" r:id="rId20"/>
    <p:sldLayoutId id="2147485743" r:id="rId21"/>
    <p:sldLayoutId id="2147485744" r:id="rId22"/>
    <p:sldLayoutId id="2147485745" r:id="rId23"/>
    <p:sldLayoutId id="2147485746" r:id="rId24"/>
    <p:sldLayoutId id="2147485747" r:id="rId25"/>
    <p:sldLayoutId id="2147485748" r:id="rId26"/>
    <p:sldLayoutId id="2147485749" r:id="rId27"/>
    <p:sldLayoutId id="2147485750" r:id="rId28"/>
    <p:sldLayoutId id="2147485751" r:id="rId29"/>
    <p:sldLayoutId id="2147485752" r:id="rId30"/>
    <p:sldLayoutId id="2147485753" r:id="rId31"/>
    <p:sldLayoutId id="2147485754" r:id="rId32"/>
    <p:sldLayoutId id="2147485755" r:id="rId33"/>
    <p:sldLayoutId id="2147485756" r:id="rId34"/>
    <p:sldLayoutId id="2147485757" r:id="rId35"/>
    <p:sldLayoutId id="2147485758" r:id="rId36"/>
    <p:sldLayoutId id="2147485759" r:id="rId37"/>
    <p:sldLayoutId id="2147485760" r:id="rId38"/>
    <p:sldLayoutId id="2147485761" r:id="rId39"/>
    <p:sldLayoutId id="2147485762" r:id="rId40"/>
    <p:sldLayoutId id="2147485763" r:id="rId41"/>
    <p:sldLayoutId id="2147485764" r:id="rId42"/>
    <p:sldLayoutId id="2147485765" r:id="rId43"/>
    <p:sldLayoutId id="2147485766" r:id="rId44"/>
    <p:sldLayoutId id="2147485767" r:id="rId45"/>
    <p:sldLayoutId id="2147485768" r:id="rId46"/>
    <p:sldLayoutId id="2147485769" r:id="rId47"/>
    <p:sldLayoutId id="2147485770" r:id="rId48"/>
    <p:sldLayoutId id="2147485771" r:id="rId49"/>
    <p:sldLayoutId id="2147485772" r:id="rId50"/>
    <p:sldLayoutId id="2147485773" r:id="rId51"/>
    <p:sldLayoutId id="2147485774" r:id="rId52"/>
    <p:sldLayoutId id="2147485775" r:id="rId53"/>
    <p:sldLayoutId id="2147485776" r:id="rId54"/>
    <p:sldLayoutId id="2147485777" r:id="rId55"/>
    <p:sldLayoutId id="2147485778" r:id="rId56"/>
    <p:sldLayoutId id="2147485779" r:id="rId57"/>
    <p:sldLayoutId id="2147485780" r:id="rId5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98003699"/>
      </p:ext>
    </p:extLst>
  </p:cSld>
  <p:clrMap bg1="lt1" tx1="dk1" bg2="lt2" tx2="dk2" accent1="accent1" accent2="accent2" accent3="accent3" accent4="accent4" accent5="accent5" accent6="accent6" hlink="hlink" folHlink="folHlink"/>
  <p:sldLayoutIdLst>
    <p:sldLayoutId id="2147485782" r:id="rId1"/>
    <p:sldLayoutId id="2147485783" r:id="rId2"/>
    <p:sldLayoutId id="2147485784" r:id="rId3"/>
    <p:sldLayoutId id="2147485785" r:id="rId4"/>
    <p:sldLayoutId id="2147485786" r:id="rId5"/>
    <p:sldLayoutId id="2147485787" r:id="rId6"/>
    <p:sldLayoutId id="2147485788" r:id="rId7"/>
    <p:sldLayoutId id="2147485789" r:id="rId8"/>
    <p:sldLayoutId id="2147485790" r:id="rId9"/>
    <p:sldLayoutId id="2147485791" r:id="rId10"/>
    <p:sldLayoutId id="2147485792" r:id="rId11"/>
    <p:sldLayoutId id="2147485793" r:id="rId12"/>
    <p:sldLayoutId id="2147485794" r:id="rId13"/>
    <p:sldLayoutId id="2147485795" r:id="rId14"/>
    <p:sldLayoutId id="2147485796" r:id="rId15"/>
    <p:sldLayoutId id="2147485797" r:id="rId16"/>
    <p:sldLayoutId id="2147485798" r:id="rId17"/>
    <p:sldLayoutId id="2147485799" r:id="rId18"/>
    <p:sldLayoutId id="2147485800" r:id="rId19"/>
    <p:sldLayoutId id="2147485801" r:id="rId20"/>
    <p:sldLayoutId id="2147485802" r:id="rId21"/>
    <p:sldLayoutId id="2147485803" r:id="rId22"/>
    <p:sldLayoutId id="2147485804" r:id="rId23"/>
    <p:sldLayoutId id="2147485805" r:id="rId24"/>
    <p:sldLayoutId id="2147485806" r:id="rId25"/>
    <p:sldLayoutId id="2147485807" r:id="rId26"/>
    <p:sldLayoutId id="2147485808" r:id="rId27"/>
    <p:sldLayoutId id="2147485809" r:id="rId28"/>
    <p:sldLayoutId id="2147485810" r:id="rId29"/>
    <p:sldLayoutId id="2147485811" r:id="rId30"/>
    <p:sldLayoutId id="2147485812" r:id="rId31"/>
    <p:sldLayoutId id="2147485813" r:id="rId32"/>
    <p:sldLayoutId id="2147485814" r:id="rId33"/>
    <p:sldLayoutId id="2147485815" r:id="rId34"/>
    <p:sldLayoutId id="2147485816" r:id="rId35"/>
    <p:sldLayoutId id="2147485817" r:id="rId36"/>
    <p:sldLayoutId id="2147485818" r:id="rId37"/>
    <p:sldLayoutId id="2147485819" r:id="rId38"/>
    <p:sldLayoutId id="2147485820" r:id="rId39"/>
    <p:sldLayoutId id="2147485821" r:id="rId40"/>
    <p:sldLayoutId id="2147485822" r:id="rId41"/>
    <p:sldLayoutId id="2147485823" r:id="rId42"/>
    <p:sldLayoutId id="2147485824" r:id="rId43"/>
    <p:sldLayoutId id="2147485825" r:id="rId44"/>
    <p:sldLayoutId id="2147485826" r:id="rId45"/>
    <p:sldLayoutId id="2147485827" r:id="rId46"/>
    <p:sldLayoutId id="2147485828" r:id="rId47"/>
    <p:sldLayoutId id="2147485829" r:id="rId48"/>
    <p:sldLayoutId id="2147485830" r:id="rId49"/>
    <p:sldLayoutId id="2147485831" r:id="rId50"/>
    <p:sldLayoutId id="2147485832" r:id="rId51"/>
    <p:sldLayoutId id="2147485833" r:id="rId52"/>
    <p:sldLayoutId id="2147485834" r:id="rId53"/>
    <p:sldLayoutId id="2147485835" r:id="rId54"/>
    <p:sldLayoutId id="2147485836" r:id="rId55"/>
    <p:sldLayoutId id="2147485837" r:id="rId56"/>
    <p:sldLayoutId id="2147485838" r:id="rId57"/>
    <p:sldLayoutId id="2147485839" r:id="rId58"/>
    <p:sldLayoutId id="2147485840" r:id="rId59"/>
    <p:sldLayoutId id="2147485841" r:id="rId60"/>
    <p:sldLayoutId id="2147485842" r:id="rId61"/>
    <p:sldLayoutId id="2147485843" r:id="rId62"/>
    <p:sldLayoutId id="2147485844" r:id="rId63"/>
    <p:sldLayoutId id="2147485845" r:id="rId64"/>
    <p:sldLayoutId id="2147485846" r:id="rId65"/>
    <p:sldLayoutId id="2147485847" r:id="rId66"/>
    <p:sldLayoutId id="2147485848" r:id="rId67"/>
    <p:sldLayoutId id="2147485849" r:id="rId68"/>
    <p:sldLayoutId id="2147485850" r:id="rId69"/>
    <p:sldLayoutId id="2147485851" r:id="rId70"/>
    <p:sldLayoutId id="2147485852" r:id="rId71"/>
    <p:sldLayoutId id="2147485853" r:id="rId72"/>
    <p:sldLayoutId id="2147485854" r:id="rId73"/>
    <p:sldLayoutId id="2147485855"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BD7319C9-8100-14D4-4604-F588D924D44B}"/>
              </a:ext>
            </a:extLst>
          </p:cNvPr>
          <p:cNvGrpSpPr/>
          <p:nvPr userDrawn="1"/>
        </p:nvGrpSpPr>
        <p:grpSpPr>
          <a:xfrm flipH="1" flipV="1">
            <a:off x="0" y="0"/>
            <a:ext cx="12192000" cy="6858000"/>
            <a:chOff x="0" y="0"/>
            <a:chExt cx="12192000" cy="6858000"/>
          </a:xfrm>
        </p:grpSpPr>
        <p:sp>
          <p:nvSpPr>
            <p:cNvPr id="52" name="Rectangle 51" descr="Dark Pattern: Plus dots">
              <a:extLst>
                <a:ext uri="{FF2B5EF4-FFF2-40B4-BE49-F238E27FC236}">
                  <a16:creationId xmlns:a16="http://schemas.microsoft.com/office/drawing/2014/main" id="{69F74468-37D0-88D7-F00F-AAAC44133586}"/>
                </a:ext>
              </a:extLst>
            </p:cNvPr>
            <p:cNvSpPr/>
            <p:nvPr/>
          </p:nvSpPr>
          <p:spPr bwMode="auto">
            <a:xfrm>
              <a:off x="0" y="0"/>
              <a:ext cx="12192000" cy="6842084"/>
            </a:xfrm>
            <a:prstGeom prst="rect">
              <a:avLst/>
            </a:prstGeom>
            <a:blipFill dpi="0" rotWithShape="1">
              <a:blip r:embed="rId61">
                <a:lum bright="-20000"/>
                <a:extLst>
                  <a:ext uri="{96DAC541-7B7A-43D3-8B79-37D633B846F1}">
                    <asvg:svgBlip xmlns:asvg="http://schemas.microsoft.com/office/drawing/2016/SVG/main" r:embed="rId6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4" descr="Dark - small container">
              <a:extLst>
                <a:ext uri="{FF2B5EF4-FFF2-40B4-BE49-F238E27FC236}">
                  <a16:creationId xmlns:a16="http://schemas.microsoft.com/office/drawing/2014/main" id="{DD304ECB-7953-3A59-E8DB-C93605D2E364}"/>
                </a:ext>
              </a:extLst>
            </p:cNvPr>
            <p:cNvSpPr>
              <a:spLocks/>
            </p:cNvSpPr>
            <p:nvPr/>
          </p:nvSpPr>
          <p:spPr bwMode="auto">
            <a:xfrm>
              <a:off x="0" y="0"/>
              <a:ext cx="12192000" cy="6858000"/>
            </a:xfrm>
            <a:prstGeom prst="rect">
              <a:avLst/>
            </a:prstGeom>
            <a:gradFill>
              <a:gsLst>
                <a:gs pos="70000">
                  <a:schemeClr val="bg1"/>
                </a:gs>
                <a:gs pos="95000">
                  <a:schemeClr val="bg1">
                    <a:alpha val="77000"/>
                  </a:schemeClr>
                </a:gs>
                <a:gs pos="25000">
                  <a:schemeClr val="bg1"/>
                </a:gs>
                <a:gs pos="0">
                  <a:schemeClr val="bg1">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3">
            <a:extLst>
              <a:ext uri="{96DAC541-7B7A-43D3-8B79-37D633B846F1}">
                <asvg:svgBlip xmlns:asvg="http://schemas.microsoft.com/office/drawing/2016/SVG/main" r:embed="rId6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3233636"/>
      </p:ext>
    </p:extLst>
  </p:cSld>
  <p:clrMap bg1="lt1" tx1="dk1" bg2="lt2" tx2="dk2" accent1="accent1" accent2="accent2" accent3="accent3" accent4="accent4" accent5="accent5" accent6="accent6" hlink="hlink" folHlink="folHlink"/>
  <p:sldLayoutIdLst>
    <p:sldLayoutId id="2147485857" r:id="rId1"/>
    <p:sldLayoutId id="2147485858" r:id="rId2"/>
    <p:sldLayoutId id="2147485859" r:id="rId3"/>
    <p:sldLayoutId id="2147485860" r:id="rId4"/>
    <p:sldLayoutId id="2147485861" r:id="rId5"/>
    <p:sldLayoutId id="2147485862" r:id="rId6"/>
    <p:sldLayoutId id="2147485863" r:id="rId7"/>
    <p:sldLayoutId id="2147485864" r:id="rId8"/>
    <p:sldLayoutId id="2147485865" r:id="rId9"/>
    <p:sldLayoutId id="2147485866" r:id="rId10"/>
    <p:sldLayoutId id="2147485867" r:id="rId11"/>
    <p:sldLayoutId id="2147485868" r:id="rId12"/>
    <p:sldLayoutId id="2147485869" r:id="rId13"/>
    <p:sldLayoutId id="2147485870" r:id="rId14"/>
    <p:sldLayoutId id="2147485871" r:id="rId15"/>
    <p:sldLayoutId id="2147485872" r:id="rId16"/>
    <p:sldLayoutId id="2147485873" r:id="rId17"/>
    <p:sldLayoutId id="2147485874" r:id="rId18"/>
    <p:sldLayoutId id="2147485875" r:id="rId19"/>
    <p:sldLayoutId id="2147485876" r:id="rId20"/>
    <p:sldLayoutId id="2147485877" r:id="rId21"/>
    <p:sldLayoutId id="2147485878" r:id="rId22"/>
    <p:sldLayoutId id="2147485879" r:id="rId23"/>
    <p:sldLayoutId id="2147485880" r:id="rId24"/>
    <p:sldLayoutId id="2147485881" r:id="rId25"/>
    <p:sldLayoutId id="2147485882" r:id="rId26"/>
    <p:sldLayoutId id="2147485883" r:id="rId27"/>
    <p:sldLayoutId id="2147485884" r:id="rId28"/>
    <p:sldLayoutId id="2147485885" r:id="rId29"/>
    <p:sldLayoutId id="2147485886" r:id="rId30"/>
    <p:sldLayoutId id="2147485887" r:id="rId31"/>
    <p:sldLayoutId id="2147485888" r:id="rId32"/>
    <p:sldLayoutId id="2147485889" r:id="rId33"/>
    <p:sldLayoutId id="2147485890" r:id="rId34"/>
    <p:sldLayoutId id="2147485891" r:id="rId35"/>
    <p:sldLayoutId id="2147485892" r:id="rId36"/>
    <p:sldLayoutId id="2147485893" r:id="rId37"/>
    <p:sldLayoutId id="2147485894" r:id="rId38"/>
    <p:sldLayoutId id="2147485895" r:id="rId39"/>
    <p:sldLayoutId id="2147485896" r:id="rId40"/>
    <p:sldLayoutId id="2147485897" r:id="rId41"/>
    <p:sldLayoutId id="2147485898" r:id="rId42"/>
    <p:sldLayoutId id="2147485899" r:id="rId43"/>
    <p:sldLayoutId id="2147485900" r:id="rId44"/>
    <p:sldLayoutId id="2147485901" r:id="rId45"/>
    <p:sldLayoutId id="2147485902" r:id="rId46"/>
    <p:sldLayoutId id="2147485903" r:id="rId47"/>
    <p:sldLayoutId id="2147485904" r:id="rId48"/>
    <p:sldLayoutId id="2147485905" r:id="rId49"/>
    <p:sldLayoutId id="2147485906" r:id="rId50"/>
    <p:sldLayoutId id="2147485907" r:id="rId51"/>
    <p:sldLayoutId id="2147485908" r:id="rId52"/>
    <p:sldLayoutId id="2147485909" r:id="rId53"/>
    <p:sldLayoutId id="2147485910" r:id="rId54"/>
    <p:sldLayoutId id="2147485911" r:id="rId55"/>
    <p:sldLayoutId id="2147485912" r:id="rId56"/>
    <p:sldLayoutId id="2147485913" r:id="rId57"/>
    <p:sldLayoutId id="2147485914" r:id="rId58"/>
    <p:sldLayoutId id="2147485915" r:id="rId5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8.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5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84.xml"/></Relationships>
</file>

<file path=ppt/slides/_rels/slide1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84.xml"/></Relationships>
</file>

<file path=ppt/slides/_rels/slide1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84.xml"/></Relationships>
</file>

<file path=ppt/slides/_rels/slide1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57.xml"/></Relationships>
</file>

<file path=ppt/slides/_rels/slide1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57.xml"/></Relationships>
</file>

<file path=ppt/slides/_rels/slide1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3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57.xml"/></Relationships>
</file>

<file path=ppt/slides/_rels/slide2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357.xml"/></Relationships>
</file>

<file path=ppt/slides/_rels/slide2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357.xml"/></Relationships>
</file>

<file path=ppt/slides/_rels/slide2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57.xml"/></Relationships>
</file>

<file path=ppt/slides/_rels/slide2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57.xml"/></Relationships>
</file>

<file path=ppt/slides/_rels/slide2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57.xml"/></Relationships>
</file>

<file path=ppt/slides/_rels/slide2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5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3.xml"/></Relationships>
</file>

<file path=ppt/slides/_rels/slide2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xml"/><Relationship Id="rId1" Type="http://schemas.openxmlformats.org/officeDocument/2006/relationships/slideLayout" Target="../slideLayouts/slideLayout217.xml"/><Relationship Id="rId4" Type="http://schemas.openxmlformats.org/officeDocument/2006/relationships/image" Target="../media/image106.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1.xml"/></Relationships>
</file>

<file path=ppt/slides/_rels/slide3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21.xml"/></Relationships>
</file>

<file path=ppt/slides/_rels/slide3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xml"/><Relationship Id="rId1" Type="http://schemas.openxmlformats.org/officeDocument/2006/relationships/slideLayout" Target="../slideLayouts/slideLayout221.xml"/><Relationship Id="rId4" Type="http://schemas.openxmlformats.org/officeDocument/2006/relationships/image" Target="../media/image110.png"/></Relationships>
</file>

<file path=ppt/slides/_rels/slide3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8.xml"/><Relationship Id="rId1" Type="http://schemas.openxmlformats.org/officeDocument/2006/relationships/slideLayout" Target="../slideLayouts/slideLayout221.xml"/><Relationship Id="rId4" Type="http://schemas.openxmlformats.org/officeDocument/2006/relationships/image" Target="../media/image112.png"/></Relationships>
</file>

<file path=ppt/slides/_rels/slide34.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52.xml"/></Relationships>
</file>

<file path=ppt/slides/_rels/slide3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9.xml"/><Relationship Id="rId1" Type="http://schemas.openxmlformats.org/officeDocument/2006/relationships/slideLayout" Target="../slideLayouts/slideLayout252.xml"/></Relationships>
</file>

<file path=ppt/slides/_rels/slide3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0.xml"/><Relationship Id="rId1" Type="http://schemas.openxmlformats.org/officeDocument/2006/relationships/slideLayout" Target="../slideLayouts/slideLayout252.xml"/></Relationships>
</file>

<file path=ppt/slides/_rels/slide3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1.xml"/><Relationship Id="rId1" Type="http://schemas.openxmlformats.org/officeDocument/2006/relationships/slideLayout" Target="../slideLayouts/slideLayout281.xml"/></Relationships>
</file>

<file path=ppt/slides/_rels/slide3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2.xml"/><Relationship Id="rId1" Type="http://schemas.openxmlformats.org/officeDocument/2006/relationships/slideLayout" Target="../slideLayouts/slideLayout273.xml"/><Relationship Id="rId4" Type="http://schemas.openxmlformats.org/officeDocument/2006/relationships/image" Target="../media/image118.png"/></Relationships>
</file>

<file path=ppt/slides/_rels/slide3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281.xml"/></Relationships>
</file>

<file path=ppt/slides/_rels/slide4.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4.png"/><Relationship Id="rId18" Type="http://schemas.openxmlformats.org/officeDocument/2006/relationships/image" Target="../media/image89.sv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svg"/><Relationship Id="rId17" Type="http://schemas.openxmlformats.org/officeDocument/2006/relationships/image" Target="../media/image88.png"/><Relationship Id="rId2" Type="http://schemas.openxmlformats.org/officeDocument/2006/relationships/notesSlide" Target="../notesSlides/notesSlide2.xml"/><Relationship Id="rId16" Type="http://schemas.openxmlformats.org/officeDocument/2006/relationships/image" Target="../media/image87.svg"/><Relationship Id="rId1" Type="http://schemas.openxmlformats.org/officeDocument/2006/relationships/slideLayout" Target="../slideLayouts/slideLayout67.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86.png"/><Relationship Id="rId10" Type="http://schemas.openxmlformats.org/officeDocument/2006/relationships/image" Target="../media/image81.sv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svg"/></Relationships>
</file>

<file path=ppt/slides/_rels/slide4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4.xml"/><Relationship Id="rId1" Type="http://schemas.openxmlformats.org/officeDocument/2006/relationships/slideLayout" Target="../slideLayouts/slideLayout273.xml"/><Relationship Id="rId4" Type="http://schemas.openxmlformats.org/officeDocument/2006/relationships/image" Target="../media/image121.png"/></Relationships>
</file>

<file path=ppt/slides/_rels/slide4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5.xml"/><Relationship Id="rId1" Type="http://schemas.openxmlformats.org/officeDocument/2006/relationships/slideLayout" Target="../slideLayouts/slideLayout281.xml"/></Relationships>
</file>

<file path=ppt/slides/_rels/slide4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6.xml"/><Relationship Id="rId1" Type="http://schemas.openxmlformats.org/officeDocument/2006/relationships/slideLayout" Target="../slideLayouts/slideLayout273.xml"/><Relationship Id="rId4" Type="http://schemas.openxmlformats.org/officeDocument/2006/relationships/image" Target="../media/image124.png"/></Relationships>
</file>

<file path=ppt/slides/_rels/slide4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7.xml"/><Relationship Id="rId1" Type="http://schemas.openxmlformats.org/officeDocument/2006/relationships/slideLayout" Target="../slideLayouts/slideLayout281.xml"/></Relationships>
</file>

<file path=ppt/slides/_rels/slide4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8.xml"/><Relationship Id="rId1" Type="http://schemas.openxmlformats.org/officeDocument/2006/relationships/slideLayout" Target="../slideLayouts/slideLayout270.xml"/></Relationships>
</file>

<file path=ppt/slides/_rels/slide4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9.xml"/><Relationship Id="rId1" Type="http://schemas.openxmlformats.org/officeDocument/2006/relationships/slideLayout" Target="../slideLayouts/slideLayout281.xml"/></Relationships>
</file>

<file path=ppt/slides/_rels/slide4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0.xml"/><Relationship Id="rId1" Type="http://schemas.openxmlformats.org/officeDocument/2006/relationships/slideLayout" Target="../slideLayouts/slideLayout27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2.xml"/><Relationship Id="rId1" Type="http://schemas.openxmlformats.org/officeDocument/2006/relationships/slideLayout" Target="../slideLayouts/slideLayout217.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5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3.xml"/><Relationship Id="rId1" Type="http://schemas.openxmlformats.org/officeDocument/2006/relationships/slideLayout" Target="../slideLayouts/slideLayout217.xml"/></Relationships>
</file>

<file path=ppt/slides/_rels/slide5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4.xml"/><Relationship Id="rId1" Type="http://schemas.openxmlformats.org/officeDocument/2006/relationships/slideLayout" Target="../slideLayouts/slideLayout217.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5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5.xml"/><Relationship Id="rId1" Type="http://schemas.openxmlformats.org/officeDocument/2006/relationships/slideLayout" Target="../slideLayouts/slideLayout2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6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9.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30.xml"/><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7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1.xml"/><Relationship Id="rId1" Type="http://schemas.openxmlformats.org/officeDocument/2006/relationships/slideLayout" Target="../slideLayouts/slideLayout8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3.xml"/><Relationship Id="rId1" Type="http://schemas.openxmlformats.org/officeDocument/2006/relationships/slideLayout" Target="../slideLayouts/slideLayout67.xml"/></Relationships>
</file>

<file path=ppt/slides/_rels/slide7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4.xml"/><Relationship Id="rId1" Type="http://schemas.openxmlformats.org/officeDocument/2006/relationships/slideLayout" Target="../slideLayouts/slideLayout6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5.xml"/><Relationship Id="rId1" Type="http://schemas.openxmlformats.org/officeDocument/2006/relationships/slideLayout" Target="../slideLayouts/slideLayout67.xml"/></Relationships>
</file>

<file path=ppt/slides/_rels/slide78.xml.rels><?xml version="1.0" encoding="UTF-8" standalone="yes"?>
<Relationships xmlns="http://schemas.openxmlformats.org/package/2006/relationships"><Relationship Id="rId8" Type="http://schemas.openxmlformats.org/officeDocument/2006/relationships/hyperlink" Target="https://aka.ms/BCOfficeHours" TargetMode="External"/><Relationship Id="rId3" Type="http://schemas.openxmlformats.org/officeDocument/2006/relationships/hyperlink" Target="http://aka.ms/BCYammer" TargetMode="External"/><Relationship Id="rId7" Type="http://schemas.openxmlformats.org/officeDocument/2006/relationships/hyperlink" Target="https://aka.ms/BCLinkedIn" TargetMode="External"/><Relationship Id="rId2" Type="http://schemas.openxmlformats.org/officeDocument/2006/relationships/notesSlide" Target="../notesSlides/notesSlide36.xml"/><Relationship Id="rId1" Type="http://schemas.openxmlformats.org/officeDocument/2006/relationships/slideLayout" Target="../slideLayouts/slideLayout105.xml"/><Relationship Id="rId6" Type="http://schemas.openxmlformats.org/officeDocument/2006/relationships/hyperlink" Target="https://aka.ms/BCPartnerPortal" TargetMode="External"/><Relationship Id="rId5" Type="http://schemas.openxmlformats.org/officeDocument/2006/relationships/hyperlink" Target="https://aka.ms/BCall" TargetMode="External"/><Relationship Id="rId4" Type="http://schemas.openxmlformats.org/officeDocument/2006/relationships/hyperlink" Target="https://aka.ms/BCYouTube" TargetMode="Externa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149.xml"/></Relationships>
</file>

<file path=ppt/slides/_rels/slide80.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147.png"/><Relationship Id="rId2" Type="http://schemas.openxmlformats.org/officeDocument/2006/relationships/notesSlide" Target="../notesSlides/notesSlide38.xml"/><Relationship Id="rId1" Type="http://schemas.openxmlformats.org/officeDocument/2006/relationships/slideLayout" Target="../slideLayouts/slideLayout149.xml"/><Relationship Id="rId6" Type="http://schemas.openxmlformats.org/officeDocument/2006/relationships/hyperlink" Target="https://aka.ms/BCYouTube" TargetMode="External"/><Relationship Id="rId5" Type="http://schemas.openxmlformats.org/officeDocument/2006/relationships/image" Target="../media/image146.png"/><Relationship Id="rId4" Type="http://schemas.openxmlformats.org/officeDocument/2006/relationships/image" Target="../media/image14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9B99A9B6-3F8A-938D-7CA2-A3101C08D350}"/>
              </a:ext>
            </a:extLst>
          </p:cNvPr>
          <p:cNvSpPr>
            <a:spLocks noGrp="1"/>
          </p:cNvSpPr>
          <p:nvPr>
            <p:ph type="title"/>
          </p:nvPr>
        </p:nvSpPr>
        <p:spPr>
          <a:xfrm>
            <a:off x="588263" y="1379101"/>
            <a:ext cx="4167887" cy="2154436"/>
          </a:xfrm>
        </p:spPr>
        <p:txBody>
          <a:bodyPr/>
          <a:lstStyle/>
          <a:p>
            <a:r>
              <a:rPr lang="en-GB" sz="2800" dirty="0"/>
              <a:t>Microsoft presents</a:t>
            </a:r>
            <a:br>
              <a:rPr lang="en-DK" sz="2800" dirty="0"/>
            </a:br>
            <a:br>
              <a:rPr lang="en-DK" sz="2800" dirty="0"/>
            </a:br>
            <a:r>
              <a:rPr lang="en-GB" sz="2800" dirty="0"/>
              <a:t>What is new in analytics for Business Central in 2025 release wave 1</a:t>
            </a:r>
            <a:endParaRPr lang="en-US" sz="2800" dirty="0"/>
          </a:p>
        </p:txBody>
      </p:sp>
      <p:sp>
        <p:nvSpPr>
          <p:cNvPr id="5" name="Text Placeholder 4"/>
          <p:cNvSpPr>
            <a:spLocks noGrp="1"/>
          </p:cNvSpPr>
          <p:nvPr>
            <p:ph type="body" sz="quarter" idx="12"/>
          </p:nvPr>
        </p:nvSpPr>
        <p:spPr/>
        <p:txBody>
          <a:bodyPr vert="horz" wrap="square" lIns="0" tIns="0" rIns="0" bIns="0" rtlCol="0" anchor="t">
            <a:spAutoFit/>
          </a:bodyPr>
          <a:lstStyle/>
          <a:p>
            <a:endParaRPr lang="en-US" dirty="0"/>
          </a:p>
        </p:txBody>
      </p:sp>
    </p:spTree>
    <p:extLst>
      <p:ext uri="{BB962C8B-B14F-4D97-AF65-F5344CB8AC3E}">
        <p14:creationId xmlns:p14="http://schemas.microsoft.com/office/powerpoint/2010/main" val="25010243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67464-96F8-8D31-33E6-8CC8841040F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B2D1634-E6F6-4FB5-0CAD-CF03F55E768B}"/>
              </a:ext>
            </a:extLst>
          </p:cNvPr>
          <p:cNvSpPr>
            <a:spLocks noGrp="1"/>
          </p:cNvSpPr>
          <p:nvPr>
            <p:ph type="title"/>
          </p:nvPr>
        </p:nvSpPr>
        <p:spPr>
          <a:xfrm>
            <a:off x="626691" y="2598003"/>
            <a:ext cx="2285566" cy="1661993"/>
          </a:xfrm>
        </p:spPr>
        <p:txBody>
          <a:bodyPr/>
          <a:lstStyle/>
          <a:p>
            <a:r>
              <a:rPr lang="en-US"/>
              <a:t>Financial reporting for authors</a:t>
            </a:r>
            <a:endParaRPr lang="en-GB"/>
          </a:p>
        </p:txBody>
      </p:sp>
      <p:sp>
        <p:nvSpPr>
          <p:cNvPr id="6" name="Text Placeholder 5">
            <a:extLst>
              <a:ext uri="{FF2B5EF4-FFF2-40B4-BE49-F238E27FC236}">
                <a16:creationId xmlns:a16="http://schemas.microsoft.com/office/drawing/2014/main" id="{3081241C-C1F8-414C-0D48-9BB69421E424}"/>
              </a:ext>
            </a:extLst>
          </p:cNvPr>
          <p:cNvSpPr>
            <a:spLocks noGrp="1"/>
          </p:cNvSpPr>
          <p:nvPr>
            <p:ph type="body" sz="quarter" idx="10"/>
          </p:nvPr>
        </p:nvSpPr>
        <p:spPr>
          <a:xfrm>
            <a:off x="4519613" y="912620"/>
            <a:ext cx="6936014" cy="430887"/>
          </a:xfrm>
        </p:spPr>
        <p:txBody>
          <a:bodyPr/>
          <a:lstStyle/>
          <a:p>
            <a:r>
              <a:rPr lang="en-DK" sz="2800"/>
              <a:t>Internal descriptions</a:t>
            </a:r>
            <a:endParaRPr lang="en-GB" sz="2800"/>
          </a:p>
        </p:txBody>
      </p:sp>
      <p:sp>
        <p:nvSpPr>
          <p:cNvPr id="7" name="Text Placeholder 6">
            <a:extLst>
              <a:ext uri="{FF2B5EF4-FFF2-40B4-BE49-F238E27FC236}">
                <a16:creationId xmlns:a16="http://schemas.microsoft.com/office/drawing/2014/main" id="{944C8108-D05D-62CC-6919-BE17E89A2D0B}"/>
              </a:ext>
            </a:extLst>
          </p:cNvPr>
          <p:cNvSpPr>
            <a:spLocks noGrp="1"/>
          </p:cNvSpPr>
          <p:nvPr>
            <p:ph type="body" sz="quarter" idx="11"/>
          </p:nvPr>
        </p:nvSpPr>
        <p:spPr>
          <a:xfrm>
            <a:off x="4519613" y="1888374"/>
            <a:ext cx="6936014" cy="430887"/>
          </a:xfrm>
        </p:spPr>
        <p:txBody>
          <a:bodyPr/>
          <a:lstStyle/>
          <a:p>
            <a:r>
              <a:rPr lang="en-DK" sz="2800"/>
              <a:t>Intro/closing paragraphs</a:t>
            </a:r>
            <a:endParaRPr lang="en-GB" sz="2800"/>
          </a:p>
        </p:txBody>
      </p:sp>
      <p:sp>
        <p:nvSpPr>
          <p:cNvPr id="8" name="Text Placeholder 7">
            <a:extLst>
              <a:ext uri="{FF2B5EF4-FFF2-40B4-BE49-F238E27FC236}">
                <a16:creationId xmlns:a16="http://schemas.microsoft.com/office/drawing/2014/main" id="{62E395F5-3B62-4644-4A94-8C85B62F8994}"/>
              </a:ext>
            </a:extLst>
          </p:cNvPr>
          <p:cNvSpPr>
            <a:spLocks noGrp="1"/>
          </p:cNvSpPr>
          <p:nvPr>
            <p:ph type="body" sz="quarter" idx="12"/>
          </p:nvPr>
        </p:nvSpPr>
        <p:spPr>
          <a:xfrm>
            <a:off x="4519613" y="2689665"/>
            <a:ext cx="6936014" cy="430887"/>
          </a:xfrm>
        </p:spPr>
        <p:txBody>
          <a:bodyPr/>
          <a:lstStyle/>
          <a:p>
            <a:r>
              <a:rPr lang="en-DK" sz="2800"/>
              <a:t>Row definitions</a:t>
            </a:r>
            <a:endParaRPr lang="en-GB" sz="2800"/>
          </a:p>
        </p:txBody>
      </p:sp>
      <p:sp>
        <p:nvSpPr>
          <p:cNvPr id="12" name="Text Placeholder 11">
            <a:extLst>
              <a:ext uri="{FF2B5EF4-FFF2-40B4-BE49-F238E27FC236}">
                <a16:creationId xmlns:a16="http://schemas.microsoft.com/office/drawing/2014/main" id="{57002E37-E95B-A45B-AB07-E8200D0274D0}"/>
              </a:ext>
            </a:extLst>
          </p:cNvPr>
          <p:cNvSpPr>
            <a:spLocks noGrp="1"/>
          </p:cNvSpPr>
          <p:nvPr>
            <p:ph type="body" sz="quarter" idx="16"/>
          </p:nvPr>
        </p:nvSpPr>
        <p:spPr/>
        <p:txBody>
          <a:bodyPr/>
          <a:lstStyle/>
          <a:p>
            <a:r>
              <a:rPr lang="en-DK"/>
              <a:t>1</a:t>
            </a:r>
            <a:endParaRPr lang="en-GB"/>
          </a:p>
        </p:txBody>
      </p:sp>
      <p:sp>
        <p:nvSpPr>
          <p:cNvPr id="13" name="Text Placeholder 12">
            <a:extLst>
              <a:ext uri="{FF2B5EF4-FFF2-40B4-BE49-F238E27FC236}">
                <a16:creationId xmlns:a16="http://schemas.microsoft.com/office/drawing/2014/main" id="{959BB34E-EACE-9733-9290-FFF0F8990478}"/>
              </a:ext>
            </a:extLst>
          </p:cNvPr>
          <p:cNvSpPr>
            <a:spLocks noGrp="1"/>
          </p:cNvSpPr>
          <p:nvPr>
            <p:ph type="body" sz="quarter" idx="17"/>
          </p:nvPr>
        </p:nvSpPr>
        <p:spPr/>
        <p:txBody>
          <a:bodyPr/>
          <a:lstStyle/>
          <a:p>
            <a:r>
              <a:rPr lang="en-DK"/>
              <a:t>2</a:t>
            </a:r>
            <a:endParaRPr lang="en-GB"/>
          </a:p>
        </p:txBody>
      </p:sp>
      <p:sp>
        <p:nvSpPr>
          <p:cNvPr id="14" name="Text Placeholder 13">
            <a:extLst>
              <a:ext uri="{FF2B5EF4-FFF2-40B4-BE49-F238E27FC236}">
                <a16:creationId xmlns:a16="http://schemas.microsoft.com/office/drawing/2014/main" id="{8AD34CDA-463E-6175-AD7A-D768EF21FA56}"/>
              </a:ext>
            </a:extLst>
          </p:cNvPr>
          <p:cNvSpPr>
            <a:spLocks noGrp="1"/>
          </p:cNvSpPr>
          <p:nvPr>
            <p:ph type="body" sz="quarter" idx="18"/>
          </p:nvPr>
        </p:nvSpPr>
        <p:spPr/>
        <p:txBody>
          <a:bodyPr/>
          <a:lstStyle/>
          <a:p>
            <a:r>
              <a:rPr lang="en-DK"/>
              <a:t>3</a:t>
            </a:r>
            <a:endParaRPr lang="en-GB"/>
          </a:p>
        </p:txBody>
      </p:sp>
      <p:sp>
        <p:nvSpPr>
          <p:cNvPr id="18" name="Text Placeholder 7">
            <a:extLst>
              <a:ext uri="{FF2B5EF4-FFF2-40B4-BE49-F238E27FC236}">
                <a16:creationId xmlns:a16="http://schemas.microsoft.com/office/drawing/2014/main" id="{77784B1A-B9B2-9C62-7F91-AA761DB6A27D}"/>
              </a:ext>
            </a:extLst>
          </p:cNvPr>
          <p:cNvSpPr txBox="1">
            <a:spLocks/>
          </p:cNvSpPr>
          <p:nvPr/>
        </p:nvSpPr>
        <p:spPr>
          <a:xfrm>
            <a:off x="4519613" y="3673444"/>
            <a:ext cx="6936014"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DK"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lumn definitions</a:t>
            </a:r>
            <a:endParaRPr kumimoji="0" lang="en-GB"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9" name="Text Placeholder 13">
            <a:extLst>
              <a:ext uri="{FF2B5EF4-FFF2-40B4-BE49-F238E27FC236}">
                <a16:creationId xmlns:a16="http://schemas.microsoft.com/office/drawing/2014/main" id="{1C85BD8D-1F27-A498-6D44-E5E3329CA875}"/>
              </a:ext>
            </a:extLst>
          </p:cNvPr>
          <p:cNvSpPr txBox="1">
            <a:spLocks/>
          </p:cNvSpPr>
          <p:nvPr/>
        </p:nvSpPr>
        <p:spPr>
          <a:xfrm>
            <a:off x="3444986" y="3612615"/>
            <a:ext cx="552452" cy="552546"/>
          </a:xfrm>
          <a:prstGeom prst="ellipse">
            <a:avLst/>
          </a:prstGeom>
          <a:noFill/>
          <a:ln w="19050" cap="flat" cmpd="sng" algn="ctr">
            <a:solidFill>
              <a:schemeClr val="bg1">
                <a:lumMod val="95000"/>
              </a:schemeClr>
            </a:solidFill>
            <a:prstDash val="solid"/>
          </a:ln>
          <a:effectLst/>
        </p:spPr>
        <p:txBody>
          <a:bodyPr vert="horz" wrap="square" lIns="0" tIns="0" rIns="0" bIns="0"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gradFill>
                  <a:gsLst>
                    <a:gs pos="0">
                      <a:schemeClr val="accent3"/>
                    </a:gs>
                    <a:gs pos="67000">
                      <a:schemeClr val="accent1"/>
                    </a:gs>
                    <a:gs pos="100000">
                      <a:schemeClr val="accent5"/>
                    </a:gs>
                  </a:gsLst>
                  <a:lin ang="5400000" scaled="1"/>
                </a:gra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rPr>
              <a:t>4</a:t>
            </a:r>
            <a:endParaRPr kumimoji="0" lang="en-GB"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endParaRPr>
          </a:p>
        </p:txBody>
      </p:sp>
    </p:spTree>
    <p:extLst>
      <p:ext uri="{BB962C8B-B14F-4D97-AF65-F5344CB8AC3E}">
        <p14:creationId xmlns:p14="http://schemas.microsoft.com/office/powerpoint/2010/main" val="229915191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9E1CA-A54D-203A-9652-E2CD6416522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101E2FF-2638-DF4D-F7D5-7604025CF3CC}"/>
              </a:ext>
            </a:extLst>
          </p:cNvPr>
          <p:cNvSpPr>
            <a:spLocks noGrp="1"/>
          </p:cNvSpPr>
          <p:nvPr>
            <p:ph type="title"/>
          </p:nvPr>
        </p:nvSpPr>
        <p:spPr>
          <a:xfrm>
            <a:off x="626691" y="2598003"/>
            <a:ext cx="2285566" cy="1661993"/>
          </a:xfrm>
        </p:spPr>
        <p:txBody>
          <a:bodyPr/>
          <a:lstStyle/>
          <a:p>
            <a:r>
              <a:rPr lang="en-US"/>
              <a:t>Financial reporting for admins</a:t>
            </a:r>
            <a:endParaRPr lang="en-GB"/>
          </a:p>
        </p:txBody>
      </p:sp>
      <p:sp>
        <p:nvSpPr>
          <p:cNvPr id="6" name="Text Placeholder 5">
            <a:extLst>
              <a:ext uri="{FF2B5EF4-FFF2-40B4-BE49-F238E27FC236}">
                <a16:creationId xmlns:a16="http://schemas.microsoft.com/office/drawing/2014/main" id="{7AB5FBB7-84D5-99D9-31ED-1226FC9E2CC2}"/>
              </a:ext>
            </a:extLst>
          </p:cNvPr>
          <p:cNvSpPr>
            <a:spLocks noGrp="1"/>
          </p:cNvSpPr>
          <p:nvPr>
            <p:ph type="body" sz="quarter" idx="10"/>
          </p:nvPr>
        </p:nvSpPr>
        <p:spPr>
          <a:xfrm>
            <a:off x="4519613" y="912620"/>
            <a:ext cx="6936014" cy="430887"/>
          </a:xfrm>
        </p:spPr>
        <p:txBody>
          <a:bodyPr/>
          <a:lstStyle/>
          <a:p>
            <a:r>
              <a:rPr lang="en-DK" sz="2800"/>
              <a:t>Telemetry</a:t>
            </a:r>
            <a:endParaRPr lang="en-GB" sz="2800"/>
          </a:p>
        </p:txBody>
      </p:sp>
      <p:sp>
        <p:nvSpPr>
          <p:cNvPr id="7" name="Text Placeholder 6">
            <a:extLst>
              <a:ext uri="{FF2B5EF4-FFF2-40B4-BE49-F238E27FC236}">
                <a16:creationId xmlns:a16="http://schemas.microsoft.com/office/drawing/2014/main" id="{7A384601-F13A-354B-23C4-7480C71922BB}"/>
              </a:ext>
            </a:extLst>
          </p:cNvPr>
          <p:cNvSpPr>
            <a:spLocks noGrp="1"/>
          </p:cNvSpPr>
          <p:nvPr>
            <p:ph type="body" sz="quarter" idx="11"/>
          </p:nvPr>
        </p:nvSpPr>
        <p:spPr>
          <a:xfrm>
            <a:off x="4519613" y="1888374"/>
            <a:ext cx="6936014" cy="430887"/>
          </a:xfrm>
        </p:spPr>
        <p:txBody>
          <a:bodyPr/>
          <a:lstStyle/>
          <a:p>
            <a:r>
              <a:rPr lang="en-DK" sz="2800"/>
              <a:t>Microsoft Purview (coming soon)</a:t>
            </a:r>
            <a:endParaRPr lang="en-GB" sz="2800"/>
          </a:p>
        </p:txBody>
      </p:sp>
      <p:sp>
        <p:nvSpPr>
          <p:cNvPr id="8" name="Text Placeholder 7">
            <a:extLst>
              <a:ext uri="{FF2B5EF4-FFF2-40B4-BE49-F238E27FC236}">
                <a16:creationId xmlns:a16="http://schemas.microsoft.com/office/drawing/2014/main" id="{E68232BE-A2AB-CA5F-8AA5-444E18FE09FF}"/>
              </a:ext>
            </a:extLst>
          </p:cNvPr>
          <p:cNvSpPr>
            <a:spLocks noGrp="1"/>
          </p:cNvSpPr>
          <p:nvPr>
            <p:ph type="body" sz="quarter" idx="12"/>
          </p:nvPr>
        </p:nvSpPr>
        <p:spPr>
          <a:xfrm>
            <a:off x="4519613" y="2689665"/>
            <a:ext cx="6936014" cy="430887"/>
          </a:xfrm>
        </p:spPr>
        <p:txBody>
          <a:bodyPr/>
          <a:lstStyle/>
          <a:p>
            <a:r>
              <a:rPr lang="en-DK" sz="2800"/>
              <a:t>Audit changes to definitions</a:t>
            </a:r>
            <a:endParaRPr lang="en-GB" sz="2800"/>
          </a:p>
        </p:txBody>
      </p:sp>
      <p:sp>
        <p:nvSpPr>
          <p:cNvPr id="12" name="Text Placeholder 11">
            <a:extLst>
              <a:ext uri="{FF2B5EF4-FFF2-40B4-BE49-F238E27FC236}">
                <a16:creationId xmlns:a16="http://schemas.microsoft.com/office/drawing/2014/main" id="{7764ADB7-5647-30BD-FC23-D43AFD2D35A7}"/>
              </a:ext>
            </a:extLst>
          </p:cNvPr>
          <p:cNvSpPr>
            <a:spLocks noGrp="1"/>
          </p:cNvSpPr>
          <p:nvPr>
            <p:ph type="body" sz="quarter" idx="16"/>
          </p:nvPr>
        </p:nvSpPr>
        <p:spPr/>
        <p:txBody>
          <a:bodyPr/>
          <a:lstStyle/>
          <a:p>
            <a:r>
              <a:rPr lang="en-DK"/>
              <a:t>1</a:t>
            </a:r>
            <a:endParaRPr lang="en-GB"/>
          </a:p>
        </p:txBody>
      </p:sp>
      <p:sp>
        <p:nvSpPr>
          <p:cNvPr id="13" name="Text Placeholder 12">
            <a:extLst>
              <a:ext uri="{FF2B5EF4-FFF2-40B4-BE49-F238E27FC236}">
                <a16:creationId xmlns:a16="http://schemas.microsoft.com/office/drawing/2014/main" id="{E7EEDD02-DFB5-98F4-955E-699AD8C0BA12}"/>
              </a:ext>
            </a:extLst>
          </p:cNvPr>
          <p:cNvSpPr>
            <a:spLocks noGrp="1"/>
          </p:cNvSpPr>
          <p:nvPr>
            <p:ph type="body" sz="quarter" idx="17"/>
          </p:nvPr>
        </p:nvSpPr>
        <p:spPr/>
        <p:txBody>
          <a:bodyPr/>
          <a:lstStyle/>
          <a:p>
            <a:r>
              <a:rPr lang="en-DK"/>
              <a:t>2</a:t>
            </a:r>
            <a:endParaRPr lang="en-GB"/>
          </a:p>
        </p:txBody>
      </p:sp>
      <p:sp>
        <p:nvSpPr>
          <p:cNvPr id="14" name="Text Placeholder 13">
            <a:extLst>
              <a:ext uri="{FF2B5EF4-FFF2-40B4-BE49-F238E27FC236}">
                <a16:creationId xmlns:a16="http://schemas.microsoft.com/office/drawing/2014/main" id="{25C0E07D-595F-BB81-4938-CD6B7D23C8D6}"/>
              </a:ext>
            </a:extLst>
          </p:cNvPr>
          <p:cNvSpPr>
            <a:spLocks noGrp="1"/>
          </p:cNvSpPr>
          <p:nvPr>
            <p:ph type="body" sz="quarter" idx="18"/>
          </p:nvPr>
        </p:nvSpPr>
        <p:spPr/>
        <p:txBody>
          <a:bodyPr/>
          <a:lstStyle/>
          <a:p>
            <a:r>
              <a:rPr lang="en-DK"/>
              <a:t>3</a:t>
            </a:r>
            <a:endParaRPr lang="en-GB"/>
          </a:p>
        </p:txBody>
      </p:sp>
      <p:sp>
        <p:nvSpPr>
          <p:cNvPr id="18" name="Text Placeholder 7">
            <a:extLst>
              <a:ext uri="{FF2B5EF4-FFF2-40B4-BE49-F238E27FC236}">
                <a16:creationId xmlns:a16="http://schemas.microsoft.com/office/drawing/2014/main" id="{97F7497A-D432-E3B3-7E3E-68029A2CB549}"/>
              </a:ext>
            </a:extLst>
          </p:cNvPr>
          <p:cNvSpPr txBox="1">
            <a:spLocks/>
          </p:cNvSpPr>
          <p:nvPr/>
        </p:nvSpPr>
        <p:spPr>
          <a:xfrm>
            <a:off x="4519613" y="3673444"/>
            <a:ext cx="6936014"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DK"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etup permissions</a:t>
            </a:r>
            <a:endParaRPr kumimoji="0" lang="en-GB"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9" name="Text Placeholder 13">
            <a:extLst>
              <a:ext uri="{FF2B5EF4-FFF2-40B4-BE49-F238E27FC236}">
                <a16:creationId xmlns:a16="http://schemas.microsoft.com/office/drawing/2014/main" id="{5FD78BED-76C4-726F-7F28-2E1A4AE34A52}"/>
              </a:ext>
            </a:extLst>
          </p:cNvPr>
          <p:cNvSpPr txBox="1">
            <a:spLocks/>
          </p:cNvSpPr>
          <p:nvPr/>
        </p:nvSpPr>
        <p:spPr>
          <a:xfrm>
            <a:off x="3444986" y="3612615"/>
            <a:ext cx="552452" cy="552546"/>
          </a:xfrm>
          <a:prstGeom prst="ellipse">
            <a:avLst/>
          </a:prstGeom>
          <a:noFill/>
          <a:ln w="19050" cap="flat" cmpd="sng" algn="ctr">
            <a:solidFill>
              <a:schemeClr val="bg1">
                <a:lumMod val="95000"/>
              </a:schemeClr>
            </a:solidFill>
            <a:prstDash val="solid"/>
          </a:ln>
          <a:effectLst/>
        </p:spPr>
        <p:txBody>
          <a:bodyPr vert="horz" wrap="square" lIns="0" tIns="0" rIns="0" bIns="0"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gradFill>
                  <a:gsLst>
                    <a:gs pos="0">
                      <a:schemeClr val="accent3"/>
                    </a:gs>
                    <a:gs pos="67000">
                      <a:schemeClr val="accent1"/>
                    </a:gs>
                    <a:gs pos="100000">
                      <a:schemeClr val="accent5"/>
                    </a:gs>
                  </a:gsLst>
                  <a:lin ang="5400000" scaled="1"/>
                </a:gra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rPr>
              <a:t>4</a:t>
            </a:r>
            <a:endParaRPr kumimoji="0" lang="en-GB"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endParaRPr>
          </a:p>
        </p:txBody>
      </p:sp>
    </p:spTree>
    <p:extLst>
      <p:ext uri="{BB962C8B-B14F-4D97-AF65-F5344CB8AC3E}">
        <p14:creationId xmlns:p14="http://schemas.microsoft.com/office/powerpoint/2010/main" val="34268059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E7109-9A6A-FA44-D16E-CE237775D55B}"/>
              </a:ext>
            </a:extLst>
          </p:cNvPr>
          <p:cNvSpPr>
            <a:spLocks noGrp="1"/>
          </p:cNvSpPr>
          <p:nvPr>
            <p:ph type="title"/>
          </p:nvPr>
        </p:nvSpPr>
        <p:spPr/>
        <p:txBody>
          <a:bodyPr/>
          <a:lstStyle/>
          <a:p>
            <a:r>
              <a:rPr lang="en-US"/>
              <a:t>Sales analytics themes for 2025 release wave 1 (26.1)</a:t>
            </a:r>
            <a:endParaRPr lang="en-GB"/>
          </a:p>
        </p:txBody>
      </p:sp>
      <p:sp>
        <p:nvSpPr>
          <p:cNvPr id="3" name="Text Placeholder 2">
            <a:extLst>
              <a:ext uri="{FF2B5EF4-FFF2-40B4-BE49-F238E27FC236}">
                <a16:creationId xmlns:a16="http://schemas.microsoft.com/office/drawing/2014/main" id="{0B37430F-6235-78EE-AAAB-4CC1C3BF669C}"/>
              </a:ext>
            </a:extLst>
          </p:cNvPr>
          <p:cNvSpPr>
            <a:spLocks noGrp="1"/>
          </p:cNvSpPr>
          <p:nvPr>
            <p:ph type="body" sz="quarter" idx="10"/>
          </p:nvPr>
        </p:nvSpPr>
        <p:spPr>
          <a:xfrm>
            <a:off x="586390" y="1434370"/>
            <a:ext cx="11018520" cy="1982081"/>
          </a:xfrm>
        </p:spPr>
        <p:txBody>
          <a:bodyPr/>
          <a:lstStyle/>
          <a:p>
            <a:r>
              <a:rPr lang="en-US"/>
              <a:t>Sales lifecycle</a:t>
            </a:r>
          </a:p>
          <a:p>
            <a:r>
              <a:rPr lang="en-US"/>
              <a:t>Profitability</a:t>
            </a:r>
          </a:p>
          <a:p>
            <a:r>
              <a:rPr lang="en-US"/>
              <a:t>Demographics</a:t>
            </a:r>
          </a:p>
          <a:p>
            <a:r>
              <a:rPr lang="en-US"/>
              <a:t>AI assisted analysis</a:t>
            </a:r>
            <a:endParaRPr lang="en-GB"/>
          </a:p>
        </p:txBody>
      </p:sp>
    </p:spTree>
    <p:extLst>
      <p:ext uri="{BB962C8B-B14F-4D97-AF65-F5344CB8AC3E}">
        <p14:creationId xmlns:p14="http://schemas.microsoft.com/office/powerpoint/2010/main" val="6144554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0A99981-A31D-0803-4E5A-CEDDD70E8083}"/>
              </a:ext>
            </a:extLst>
          </p:cNvPr>
          <p:cNvSpPr>
            <a:spLocks noGrp="1"/>
          </p:cNvSpPr>
          <p:nvPr>
            <p:ph type="title"/>
          </p:nvPr>
        </p:nvSpPr>
        <p:spPr/>
        <p:txBody>
          <a:bodyPr/>
          <a:lstStyle/>
          <a:p>
            <a:r>
              <a:rPr lang="en-US"/>
              <a:t>Phases of a sale</a:t>
            </a:r>
            <a:endParaRPr lang="en-GB"/>
          </a:p>
        </p:txBody>
      </p:sp>
      <p:graphicFrame>
        <p:nvGraphicFramePr>
          <p:cNvPr id="8" name="Diagram 7">
            <a:extLst>
              <a:ext uri="{FF2B5EF4-FFF2-40B4-BE49-F238E27FC236}">
                <a16:creationId xmlns:a16="http://schemas.microsoft.com/office/drawing/2014/main" id="{42ECA009-EB86-197F-2353-1425D7CFCF95}"/>
              </a:ext>
            </a:extLst>
          </p:cNvPr>
          <p:cNvGraphicFramePr/>
          <p:nvPr/>
        </p:nvGraphicFramePr>
        <p:xfrm>
          <a:off x="675712" y="1741296"/>
          <a:ext cx="11049609" cy="45982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6">
            <a:extLst>
              <a:ext uri="{FF2B5EF4-FFF2-40B4-BE49-F238E27FC236}">
                <a16:creationId xmlns:a16="http://schemas.microsoft.com/office/drawing/2014/main" id="{F4CFEF08-8735-EF35-3145-FEA68C625EF9}"/>
              </a:ext>
            </a:extLst>
          </p:cNvPr>
          <p:cNvSpPr txBox="1">
            <a:spLocks/>
          </p:cNvSpPr>
          <p:nvPr/>
        </p:nvSpPr>
        <p:spPr>
          <a:xfrm>
            <a:off x="5325470" y="3024667"/>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4 wave 2</a:t>
            </a:r>
          </a:p>
        </p:txBody>
      </p:sp>
      <p:sp>
        <p:nvSpPr>
          <p:cNvPr id="11" name="Title 6">
            <a:extLst>
              <a:ext uri="{FF2B5EF4-FFF2-40B4-BE49-F238E27FC236}">
                <a16:creationId xmlns:a16="http://schemas.microsoft.com/office/drawing/2014/main" id="{B9AC0213-6D7E-ECE4-547E-B9CEFE019950}"/>
              </a:ext>
            </a:extLst>
          </p:cNvPr>
          <p:cNvSpPr txBox="1">
            <a:spLocks/>
          </p:cNvSpPr>
          <p:nvPr/>
        </p:nvSpPr>
        <p:spPr>
          <a:xfrm>
            <a:off x="7687306" y="3024667"/>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4 wave 2</a:t>
            </a:r>
          </a:p>
        </p:txBody>
      </p:sp>
      <p:sp>
        <p:nvSpPr>
          <p:cNvPr id="12" name="Title 6">
            <a:extLst>
              <a:ext uri="{FF2B5EF4-FFF2-40B4-BE49-F238E27FC236}">
                <a16:creationId xmlns:a16="http://schemas.microsoft.com/office/drawing/2014/main" id="{B4665713-1CA6-39E8-2338-0CD34B5A9BED}"/>
              </a:ext>
            </a:extLst>
          </p:cNvPr>
          <p:cNvSpPr txBox="1">
            <a:spLocks/>
          </p:cNvSpPr>
          <p:nvPr/>
        </p:nvSpPr>
        <p:spPr>
          <a:xfrm>
            <a:off x="675712" y="4804612"/>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5 wave 1</a:t>
            </a:r>
          </a:p>
        </p:txBody>
      </p:sp>
      <p:sp>
        <p:nvSpPr>
          <p:cNvPr id="13" name="Title 6">
            <a:extLst>
              <a:ext uri="{FF2B5EF4-FFF2-40B4-BE49-F238E27FC236}">
                <a16:creationId xmlns:a16="http://schemas.microsoft.com/office/drawing/2014/main" id="{D0329E62-5AF9-7355-9C8E-62C34D5FD475}"/>
              </a:ext>
            </a:extLst>
          </p:cNvPr>
          <p:cNvSpPr txBox="1">
            <a:spLocks/>
          </p:cNvSpPr>
          <p:nvPr/>
        </p:nvSpPr>
        <p:spPr>
          <a:xfrm>
            <a:off x="3033172" y="4804612"/>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5 wave 1</a:t>
            </a:r>
          </a:p>
        </p:txBody>
      </p:sp>
      <p:sp>
        <p:nvSpPr>
          <p:cNvPr id="14" name="Title 6">
            <a:extLst>
              <a:ext uri="{FF2B5EF4-FFF2-40B4-BE49-F238E27FC236}">
                <a16:creationId xmlns:a16="http://schemas.microsoft.com/office/drawing/2014/main" id="{FC6C4ACA-D697-FCFE-F1A7-9E186812E9D6}"/>
              </a:ext>
            </a:extLst>
          </p:cNvPr>
          <p:cNvSpPr txBox="1">
            <a:spLocks/>
          </p:cNvSpPr>
          <p:nvPr/>
        </p:nvSpPr>
        <p:spPr>
          <a:xfrm>
            <a:off x="10103366" y="4804612"/>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5 wave 1</a:t>
            </a:r>
          </a:p>
        </p:txBody>
      </p:sp>
    </p:spTree>
    <p:extLst>
      <p:ext uri="{BB962C8B-B14F-4D97-AF65-F5344CB8AC3E}">
        <p14:creationId xmlns:p14="http://schemas.microsoft.com/office/powerpoint/2010/main" val="26269733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P spid="13" grpId="0"/>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90D3463-5314-20F8-820A-546023430934}"/>
              </a:ext>
            </a:extLst>
          </p:cNvPr>
          <p:cNvPicPr>
            <a:picLocks noChangeAspect="1"/>
          </p:cNvPicPr>
          <p:nvPr/>
        </p:nvPicPr>
        <p:blipFill>
          <a:blip r:embed="rId2"/>
          <a:stretch>
            <a:fillRect/>
          </a:stretch>
        </p:blipFill>
        <p:spPr>
          <a:xfrm>
            <a:off x="38680" y="0"/>
            <a:ext cx="12114640" cy="6858000"/>
          </a:xfrm>
          <a:prstGeom prst="rect">
            <a:avLst/>
          </a:prstGeom>
        </p:spPr>
      </p:pic>
    </p:spTree>
    <p:extLst>
      <p:ext uri="{BB962C8B-B14F-4D97-AF65-F5344CB8AC3E}">
        <p14:creationId xmlns:p14="http://schemas.microsoft.com/office/powerpoint/2010/main" val="14568750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D6D5EC-2B94-E4CA-7CB6-9148FC616012}"/>
              </a:ext>
            </a:extLst>
          </p:cNvPr>
          <p:cNvPicPr>
            <a:picLocks noChangeAspect="1"/>
          </p:cNvPicPr>
          <p:nvPr/>
        </p:nvPicPr>
        <p:blipFill>
          <a:blip r:embed="rId2"/>
          <a:stretch>
            <a:fillRect/>
          </a:stretch>
        </p:blipFill>
        <p:spPr>
          <a:xfrm>
            <a:off x="43912" y="0"/>
            <a:ext cx="12104176" cy="6858000"/>
          </a:xfrm>
          <a:prstGeom prst="rect">
            <a:avLst/>
          </a:prstGeom>
        </p:spPr>
      </p:pic>
    </p:spTree>
    <p:extLst>
      <p:ext uri="{BB962C8B-B14F-4D97-AF65-F5344CB8AC3E}">
        <p14:creationId xmlns:p14="http://schemas.microsoft.com/office/powerpoint/2010/main" val="25549170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4B1407-EB6E-57A3-1C50-CB9F26AF5341}"/>
              </a:ext>
            </a:extLst>
          </p:cNvPr>
          <p:cNvPicPr>
            <a:picLocks noChangeAspect="1"/>
          </p:cNvPicPr>
          <p:nvPr/>
        </p:nvPicPr>
        <p:blipFill>
          <a:blip r:embed="rId2"/>
          <a:stretch>
            <a:fillRect/>
          </a:stretch>
        </p:blipFill>
        <p:spPr>
          <a:xfrm>
            <a:off x="32737" y="0"/>
            <a:ext cx="12126525" cy="6858000"/>
          </a:xfrm>
          <a:prstGeom prst="rect">
            <a:avLst/>
          </a:prstGeom>
        </p:spPr>
      </p:pic>
    </p:spTree>
    <p:extLst>
      <p:ext uri="{BB962C8B-B14F-4D97-AF65-F5344CB8AC3E}">
        <p14:creationId xmlns:p14="http://schemas.microsoft.com/office/powerpoint/2010/main" val="126530921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2292E-51C6-DA1E-D13D-848A3147B727}"/>
              </a:ext>
            </a:extLst>
          </p:cNvPr>
          <p:cNvSpPr>
            <a:spLocks noGrp="1"/>
          </p:cNvSpPr>
          <p:nvPr>
            <p:ph type="title"/>
          </p:nvPr>
        </p:nvSpPr>
        <p:spPr/>
        <p:txBody>
          <a:bodyPr/>
          <a:lstStyle/>
          <a:p>
            <a:r>
              <a:rPr lang="en-US"/>
              <a:t>Profitability analysis (pareto)</a:t>
            </a:r>
            <a:endParaRPr lang="en-GB"/>
          </a:p>
        </p:txBody>
      </p:sp>
      <p:pic>
        <p:nvPicPr>
          <p:cNvPr id="4" name="Picture 3">
            <a:extLst>
              <a:ext uri="{FF2B5EF4-FFF2-40B4-BE49-F238E27FC236}">
                <a16:creationId xmlns:a16="http://schemas.microsoft.com/office/drawing/2014/main" id="{244D3F41-24D3-AFA0-2F80-95CF1861FBB1}"/>
              </a:ext>
            </a:extLst>
          </p:cNvPr>
          <p:cNvPicPr>
            <a:picLocks noChangeAspect="1"/>
          </p:cNvPicPr>
          <p:nvPr/>
        </p:nvPicPr>
        <p:blipFill>
          <a:blip r:embed="rId2"/>
          <a:stretch>
            <a:fillRect/>
          </a:stretch>
        </p:blipFill>
        <p:spPr>
          <a:xfrm>
            <a:off x="588262" y="1360661"/>
            <a:ext cx="9548889" cy="5385769"/>
          </a:xfrm>
          <a:prstGeom prst="rect">
            <a:avLst/>
          </a:prstGeom>
        </p:spPr>
      </p:pic>
    </p:spTree>
    <p:extLst>
      <p:ext uri="{BB962C8B-B14F-4D97-AF65-F5344CB8AC3E}">
        <p14:creationId xmlns:p14="http://schemas.microsoft.com/office/powerpoint/2010/main" val="310611132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C0FD2-75C8-B2F0-A7A9-9F2AF99F1E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56E8AC-EE01-D7C3-BA6D-37B8EBA410F2}"/>
              </a:ext>
            </a:extLst>
          </p:cNvPr>
          <p:cNvSpPr>
            <a:spLocks noGrp="1"/>
          </p:cNvSpPr>
          <p:nvPr>
            <p:ph type="title"/>
          </p:nvPr>
        </p:nvSpPr>
        <p:spPr/>
        <p:txBody>
          <a:bodyPr/>
          <a:lstStyle/>
          <a:p>
            <a:r>
              <a:rPr lang="en-US"/>
              <a:t>Profitability analysis (item seasonality and profitability)</a:t>
            </a:r>
            <a:endParaRPr lang="en-GB"/>
          </a:p>
        </p:txBody>
      </p:sp>
      <p:pic>
        <p:nvPicPr>
          <p:cNvPr id="4" name="Picture 3">
            <a:extLst>
              <a:ext uri="{FF2B5EF4-FFF2-40B4-BE49-F238E27FC236}">
                <a16:creationId xmlns:a16="http://schemas.microsoft.com/office/drawing/2014/main" id="{F576A7F2-E380-E85F-D218-2AB78CBEC73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90891" y="1360661"/>
            <a:ext cx="9543631" cy="5385769"/>
          </a:xfrm>
          <a:prstGeom prst="rect">
            <a:avLst/>
          </a:prstGeom>
        </p:spPr>
      </p:pic>
    </p:spTree>
    <p:extLst>
      <p:ext uri="{BB962C8B-B14F-4D97-AF65-F5344CB8AC3E}">
        <p14:creationId xmlns:p14="http://schemas.microsoft.com/office/powerpoint/2010/main" val="42081322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8596D-6653-7EF4-63F5-4C48DEE0394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30651ED-C530-6288-C40A-8D1588F2E8D7}"/>
              </a:ext>
            </a:extLst>
          </p:cNvPr>
          <p:cNvPicPr>
            <a:picLocks noChangeAspect="1"/>
          </p:cNvPicPr>
          <p:nvPr/>
        </p:nvPicPr>
        <p:blipFill>
          <a:blip r:embed="rId2">
            <a:extLst>
              <a:ext uri="{28A0092B-C50C-407E-A947-70E740481C1C}">
                <a14:useLocalDpi xmlns:a14="http://schemas.microsoft.com/office/drawing/2010/main" val="0"/>
              </a:ext>
            </a:extLst>
          </a:blip>
          <a:stretch/>
        </p:blipFill>
        <p:spPr>
          <a:xfrm>
            <a:off x="588263" y="1311563"/>
            <a:ext cx="9723108" cy="5517862"/>
          </a:xfrm>
          <a:prstGeom prst="rect">
            <a:avLst/>
          </a:prstGeom>
          <a:noFill/>
        </p:spPr>
      </p:pic>
      <p:sp>
        <p:nvSpPr>
          <p:cNvPr id="2" name="Title 1">
            <a:extLst>
              <a:ext uri="{FF2B5EF4-FFF2-40B4-BE49-F238E27FC236}">
                <a16:creationId xmlns:a16="http://schemas.microsoft.com/office/drawing/2014/main" id="{FFD13E53-E105-66BB-479A-57E924983ABF}"/>
              </a:ext>
            </a:extLst>
          </p:cNvPr>
          <p:cNvSpPr>
            <a:spLocks noGrp="1"/>
          </p:cNvSpPr>
          <p:nvPr>
            <p:ph type="title"/>
          </p:nvPr>
        </p:nvSpPr>
        <p:spPr/>
        <p:txBody>
          <a:bodyPr wrap="square" anchor="ctr">
            <a:normAutofit/>
          </a:bodyPr>
          <a:lstStyle/>
          <a:p>
            <a:r>
              <a:rPr lang="en-US"/>
              <a:t>Profitability analysis (sales staff)</a:t>
            </a:r>
            <a:endParaRPr lang="en-GB"/>
          </a:p>
        </p:txBody>
      </p:sp>
      <p:pic>
        <p:nvPicPr>
          <p:cNvPr id="7" name="Picture 6">
            <a:extLst>
              <a:ext uri="{FF2B5EF4-FFF2-40B4-BE49-F238E27FC236}">
                <a16:creationId xmlns:a16="http://schemas.microsoft.com/office/drawing/2014/main" id="{F7E2727A-55B5-9CA5-00B3-124DE70E90D6}"/>
              </a:ext>
            </a:extLst>
          </p:cNvPr>
          <p:cNvPicPr>
            <a:picLocks noChangeAspect="1"/>
          </p:cNvPicPr>
          <p:nvPr/>
        </p:nvPicPr>
        <p:blipFill>
          <a:blip r:embed="rId3"/>
          <a:stretch>
            <a:fillRect/>
          </a:stretch>
        </p:blipFill>
        <p:spPr>
          <a:xfrm>
            <a:off x="3406509" y="2261627"/>
            <a:ext cx="1556323" cy="1229495"/>
          </a:xfrm>
          <a:prstGeom prst="rect">
            <a:avLst/>
          </a:prstGeom>
          <a:noFill/>
        </p:spPr>
      </p:pic>
    </p:spTree>
    <p:extLst>
      <p:ext uri="{BB962C8B-B14F-4D97-AF65-F5344CB8AC3E}">
        <p14:creationId xmlns:p14="http://schemas.microsoft.com/office/powerpoint/2010/main" val="38264200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3E1F569-CD4F-4DCB-5A96-88A2F852DCA7}"/>
              </a:ext>
            </a:extLst>
          </p:cNvPr>
          <p:cNvSpPr>
            <a:spLocks noGrp="1"/>
          </p:cNvSpPr>
          <p:nvPr>
            <p:ph type="title"/>
          </p:nvPr>
        </p:nvSpPr>
        <p:spPr/>
        <p:txBody>
          <a:bodyPr/>
          <a:lstStyle/>
          <a:p>
            <a:r>
              <a:rPr lang="en-DK"/>
              <a:t>Abstract (hidden slide)</a:t>
            </a:r>
            <a:endParaRPr lang="en-GB"/>
          </a:p>
        </p:txBody>
      </p:sp>
      <p:sp>
        <p:nvSpPr>
          <p:cNvPr id="7" name="Text Placeholder 6">
            <a:extLst>
              <a:ext uri="{FF2B5EF4-FFF2-40B4-BE49-F238E27FC236}">
                <a16:creationId xmlns:a16="http://schemas.microsoft.com/office/drawing/2014/main" id="{4E5FADC3-7C8F-4DBF-CA27-9BD67A166DD6}"/>
              </a:ext>
            </a:extLst>
          </p:cNvPr>
          <p:cNvSpPr>
            <a:spLocks noGrp="1"/>
          </p:cNvSpPr>
          <p:nvPr>
            <p:ph type="body" sz="quarter" idx="12"/>
          </p:nvPr>
        </p:nvSpPr>
        <p:spPr>
          <a:xfrm>
            <a:off x="584200" y="1436688"/>
            <a:ext cx="11018838" cy="3323987"/>
          </a:xfrm>
        </p:spPr>
        <p:txBody>
          <a:bodyPr/>
          <a:lstStyle/>
          <a:p>
            <a:pPr marL="0" indent="0">
              <a:buNone/>
            </a:pPr>
            <a:r>
              <a:rPr lang="en-GB" sz="2400"/>
              <a:t>Join this session for the grand overview of key updates to analytics in Business Central 2025 release wave 1, including Power BI apps, data analysis queries, and reports with Excel/Word layouts. We will cover this and how it works across all major functional areas: finance, sales, purchasing, manufacturing, projects, and more. The session is relevant if you work pre-sales, as this demos well with prospective and existing customers, or working as functional consultants (to show your customers what is possible), architects (to include analytics in upgrade plans and tenders), and maybe also developers (to learn where to get inspired for your code).</a:t>
            </a:r>
          </a:p>
        </p:txBody>
      </p:sp>
      <p:sp>
        <p:nvSpPr>
          <p:cNvPr id="6" name="Text Placeholder 5">
            <a:extLst>
              <a:ext uri="{FF2B5EF4-FFF2-40B4-BE49-F238E27FC236}">
                <a16:creationId xmlns:a16="http://schemas.microsoft.com/office/drawing/2014/main" id="{E0D7102B-BAED-27BB-5AFB-0E2CAED6F649}"/>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81158528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EC79B-6CFC-522A-77D9-EB9EFE928F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3CE11D-446F-C41D-542F-BEE6BEA16ED6}"/>
              </a:ext>
            </a:extLst>
          </p:cNvPr>
          <p:cNvSpPr>
            <a:spLocks noGrp="1"/>
          </p:cNvSpPr>
          <p:nvPr>
            <p:ph type="title"/>
          </p:nvPr>
        </p:nvSpPr>
        <p:spPr/>
        <p:txBody>
          <a:bodyPr/>
          <a:lstStyle/>
          <a:p>
            <a:r>
              <a:rPr lang="en-US"/>
              <a:t>Profitability (by customer or sales staff)</a:t>
            </a:r>
            <a:endParaRPr lang="en-GB"/>
          </a:p>
        </p:txBody>
      </p:sp>
      <p:pic>
        <p:nvPicPr>
          <p:cNvPr id="4" name="Picture 3">
            <a:extLst>
              <a:ext uri="{FF2B5EF4-FFF2-40B4-BE49-F238E27FC236}">
                <a16:creationId xmlns:a16="http://schemas.microsoft.com/office/drawing/2014/main" id="{E044C35C-736E-E707-1A08-16DAC02C1A8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57191" y="1379958"/>
            <a:ext cx="9411028" cy="5347175"/>
          </a:xfrm>
          <a:prstGeom prst="rect">
            <a:avLst/>
          </a:prstGeom>
        </p:spPr>
      </p:pic>
    </p:spTree>
    <p:extLst>
      <p:ext uri="{BB962C8B-B14F-4D97-AF65-F5344CB8AC3E}">
        <p14:creationId xmlns:p14="http://schemas.microsoft.com/office/powerpoint/2010/main" val="242033999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666FE-D4B5-80F0-5C79-AC6FACBB86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5795A2-70CC-6F18-4F3C-7275E821D042}"/>
              </a:ext>
            </a:extLst>
          </p:cNvPr>
          <p:cNvSpPr>
            <a:spLocks noGrp="1"/>
          </p:cNvSpPr>
          <p:nvPr>
            <p:ph type="title"/>
          </p:nvPr>
        </p:nvSpPr>
        <p:spPr/>
        <p:txBody>
          <a:bodyPr/>
          <a:lstStyle/>
          <a:p>
            <a:r>
              <a:rPr lang="en-US"/>
              <a:t>Customer demographics (location)</a:t>
            </a:r>
            <a:endParaRPr lang="en-GB"/>
          </a:p>
        </p:txBody>
      </p:sp>
      <p:pic>
        <p:nvPicPr>
          <p:cNvPr id="4" name="Picture 3">
            <a:extLst>
              <a:ext uri="{FF2B5EF4-FFF2-40B4-BE49-F238E27FC236}">
                <a16:creationId xmlns:a16="http://schemas.microsoft.com/office/drawing/2014/main" id="{A23C20E0-4AD1-3272-C91F-F44F0848AD0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0558" y="1379958"/>
            <a:ext cx="9484296" cy="5347175"/>
          </a:xfrm>
          <a:prstGeom prst="rect">
            <a:avLst/>
          </a:prstGeom>
        </p:spPr>
      </p:pic>
    </p:spTree>
    <p:extLst>
      <p:ext uri="{BB962C8B-B14F-4D97-AF65-F5344CB8AC3E}">
        <p14:creationId xmlns:p14="http://schemas.microsoft.com/office/powerpoint/2010/main" val="151151534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423EC-9BFF-63DD-239D-4E5AA6A0E35B}"/>
              </a:ext>
            </a:extLst>
          </p:cNvPr>
          <p:cNvSpPr>
            <a:spLocks noGrp="1"/>
          </p:cNvSpPr>
          <p:nvPr>
            <p:ph type="title"/>
          </p:nvPr>
        </p:nvSpPr>
        <p:spPr/>
        <p:txBody>
          <a:bodyPr/>
          <a:lstStyle/>
          <a:p>
            <a:r>
              <a:rPr lang="en-US"/>
              <a:t>Expand the map to get your world sales map</a:t>
            </a:r>
            <a:endParaRPr lang="en-GB"/>
          </a:p>
        </p:txBody>
      </p:sp>
      <p:pic>
        <p:nvPicPr>
          <p:cNvPr id="4" name="Picture 3">
            <a:extLst>
              <a:ext uri="{FF2B5EF4-FFF2-40B4-BE49-F238E27FC236}">
                <a16:creationId xmlns:a16="http://schemas.microsoft.com/office/drawing/2014/main" id="{E50F1212-6209-99A3-15FD-8A3280719EFD}"/>
              </a:ext>
            </a:extLst>
          </p:cNvPr>
          <p:cNvPicPr>
            <a:picLocks noChangeAspect="1"/>
          </p:cNvPicPr>
          <p:nvPr/>
        </p:nvPicPr>
        <p:blipFill>
          <a:blip r:embed="rId2"/>
          <a:stretch>
            <a:fillRect/>
          </a:stretch>
        </p:blipFill>
        <p:spPr>
          <a:xfrm>
            <a:off x="498763" y="1270327"/>
            <a:ext cx="9704998" cy="5460794"/>
          </a:xfrm>
          <a:prstGeom prst="rect">
            <a:avLst/>
          </a:prstGeom>
        </p:spPr>
      </p:pic>
    </p:spTree>
    <p:extLst>
      <p:ext uri="{BB962C8B-B14F-4D97-AF65-F5344CB8AC3E}">
        <p14:creationId xmlns:p14="http://schemas.microsoft.com/office/powerpoint/2010/main" val="314325011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049D3-52C5-A4F2-20FE-E773C7DA6C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3FCD35-8C80-7321-A062-F2329EFD3F80}"/>
              </a:ext>
            </a:extLst>
          </p:cNvPr>
          <p:cNvSpPr>
            <a:spLocks noGrp="1"/>
          </p:cNvSpPr>
          <p:nvPr>
            <p:ph type="title"/>
          </p:nvPr>
        </p:nvSpPr>
        <p:spPr/>
        <p:txBody>
          <a:bodyPr/>
          <a:lstStyle/>
          <a:p>
            <a:r>
              <a:rPr lang="en-US"/>
              <a:t>Sales demographics (by item or customer)</a:t>
            </a:r>
            <a:endParaRPr lang="en-GB"/>
          </a:p>
        </p:txBody>
      </p:sp>
      <p:pic>
        <p:nvPicPr>
          <p:cNvPr id="4" name="Picture 3">
            <a:extLst>
              <a:ext uri="{FF2B5EF4-FFF2-40B4-BE49-F238E27FC236}">
                <a16:creationId xmlns:a16="http://schemas.microsoft.com/office/drawing/2014/main" id="{FD6B8BA0-E319-4FA6-FED4-B09A66EDC7F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583" y="1379958"/>
            <a:ext cx="9434245" cy="5347175"/>
          </a:xfrm>
          <a:prstGeom prst="rect">
            <a:avLst/>
          </a:prstGeom>
        </p:spPr>
      </p:pic>
    </p:spTree>
    <p:extLst>
      <p:ext uri="{BB962C8B-B14F-4D97-AF65-F5344CB8AC3E}">
        <p14:creationId xmlns:p14="http://schemas.microsoft.com/office/powerpoint/2010/main" val="223236165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9E580-9D0D-C405-F964-D05150C096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DA83DA-E71E-7C69-3D7C-5B0057C6EDD0}"/>
              </a:ext>
            </a:extLst>
          </p:cNvPr>
          <p:cNvSpPr>
            <a:spLocks noGrp="1"/>
          </p:cNvSpPr>
          <p:nvPr>
            <p:ph type="title"/>
          </p:nvPr>
        </p:nvSpPr>
        <p:spPr/>
        <p:txBody>
          <a:bodyPr/>
          <a:lstStyle/>
          <a:p>
            <a:r>
              <a:rPr lang="en-US"/>
              <a:t>AI assisted sales analysis 1 (ad/hoc or by statistics)</a:t>
            </a:r>
            <a:endParaRPr lang="en-GB"/>
          </a:p>
        </p:txBody>
      </p:sp>
      <p:pic>
        <p:nvPicPr>
          <p:cNvPr id="4" name="Picture 3">
            <a:extLst>
              <a:ext uri="{FF2B5EF4-FFF2-40B4-BE49-F238E27FC236}">
                <a16:creationId xmlns:a16="http://schemas.microsoft.com/office/drawing/2014/main" id="{64C09224-71A7-8741-6FF0-C17DF3387CA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583" y="1385867"/>
            <a:ext cx="9434245" cy="5335356"/>
          </a:xfrm>
          <a:prstGeom prst="rect">
            <a:avLst/>
          </a:prstGeom>
        </p:spPr>
      </p:pic>
    </p:spTree>
    <p:extLst>
      <p:ext uri="{BB962C8B-B14F-4D97-AF65-F5344CB8AC3E}">
        <p14:creationId xmlns:p14="http://schemas.microsoft.com/office/powerpoint/2010/main" val="313628141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03059-E3C8-19AB-C687-8EBC9DAF02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6010E1-AB19-EFFB-966A-BE31E755B3EE}"/>
              </a:ext>
            </a:extLst>
          </p:cNvPr>
          <p:cNvSpPr>
            <a:spLocks noGrp="1"/>
          </p:cNvSpPr>
          <p:nvPr>
            <p:ph type="title"/>
          </p:nvPr>
        </p:nvSpPr>
        <p:spPr>
          <a:xfrm>
            <a:off x="588262" y="457200"/>
            <a:ext cx="11603737" cy="553998"/>
          </a:xfrm>
        </p:spPr>
        <p:txBody>
          <a:bodyPr/>
          <a:lstStyle/>
          <a:p>
            <a:r>
              <a:rPr lang="en-US"/>
              <a:t>AI assisted sales analysis 2 (key drivers for high/low sales)</a:t>
            </a:r>
            <a:endParaRPr lang="en-GB"/>
          </a:p>
        </p:txBody>
      </p:sp>
      <p:pic>
        <p:nvPicPr>
          <p:cNvPr id="4" name="Picture 3">
            <a:extLst>
              <a:ext uri="{FF2B5EF4-FFF2-40B4-BE49-F238E27FC236}">
                <a16:creationId xmlns:a16="http://schemas.microsoft.com/office/drawing/2014/main" id="{835BF5F0-7280-BF08-54C5-1C9216F3D3E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583" y="1388521"/>
            <a:ext cx="9434245" cy="5330047"/>
          </a:xfrm>
          <a:prstGeom prst="rect">
            <a:avLst/>
          </a:prstGeom>
        </p:spPr>
      </p:pic>
    </p:spTree>
    <p:extLst>
      <p:ext uri="{BB962C8B-B14F-4D97-AF65-F5344CB8AC3E}">
        <p14:creationId xmlns:p14="http://schemas.microsoft.com/office/powerpoint/2010/main" val="83412213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922E8-311F-AE5A-271B-005434418E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61EB71-8A8B-5F26-11A1-6670D3CA0CD9}"/>
              </a:ext>
            </a:extLst>
          </p:cNvPr>
          <p:cNvSpPr>
            <a:spLocks noGrp="1"/>
          </p:cNvSpPr>
          <p:nvPr>
            <p:ph type="title"/>
          </p:nvPr>
        </p:nvSpPr>
        <p:spPr/>
        <p:txBody>
          <a:bodyPr/>
          <a:lstStyle/>
          <a:p>
            <a:r>
              <a:rPr lang="en-US"/>
              <a:t>AI assisted sales analysis 3 (segmentation)</a:t>
            </a:r>
            <a:endParaRPr lang="en-GB"/>
          </a:p>
        </p:txBody>
      </p:sp>
      <p:pic>
        <p:nvPicPr>
          <p:cNvPr id="4" name="Picture 3">
            <a:extLst>
              <a:ext uri="{FF2B5EF4-FFF2-40B4-BE49-F238E27FC236}">
                <a16:creationId xmlns:a16="http://schemas.microsoft.com/office/drawing/2014/main" id="{6794C25C-C3D1-48CD-FFA7-08F9260D18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930" y="1388521"/>
            <a:ext cx="9433551" cy="5330047"/>
          </a:xfrm>
          <a:prstGeom prst="rect">
            <a:avLst/>
          </a:prstGeom>
        </p:spPr>
      </p:pic>
    </p:spTree>
    <p:extLst>
      <p:ext uri="{BB962C8B-B14F-4D97-AF65-F5344CB8AC3E}">
        <p14:creationId xmlns:p14="http://schemas.microsoft.com/office/powerpoint/2010/main" val="263678653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3CDDFEB7-474A-AE44-5CD8-9E15CE2FBF56}"/>
              </a:ext>
            </a:extLst>
          </p:cNvPr>
          <p:cNvSpPr>
            <a:spLocks noGrp="1"/>
          </p:cNvSpPr>
          <p:nvPr>
            <p:ph type="title"/>
          </p:nvPr>
        </p:nvSpPr>
        <p:spPr>
          <a:xfrm>
            <a:off x="588263" y="457200"/>
            <a:ext cx="11018520" cy="4708981"/>
          </a:xfrm>
        </p:spPr>
        <p:txBody>
          <a:bodyPr/>
          <a:lstStyle/>
          <a:p>
            <a:r>
              <a:rPr lang="en-DK">
                <a:highlight>
                  <a:srgbClr val="FFFF00"/>
                </a:highlight>
              </a:rPr>
              <a:t>Hidden slide</a:t>
            </a:r>
            <a:br>
              <a:rPr lang="en-DK"/>
            </a:br>
            <a:br>
              <a:rPr lang="en-DK"/>
            </a:br>
            <a:r>
              <a:rPr lang="en-DK"/>
              <a:t>This deck is for LE25-907</a:t>
            </a:r>
            <a:r>
              <a:rPr lang="en-US"/>
              <a:t>a</a:t>
            </a:r>
            <a:br>
              <a:rPr lang="en-DK"/>
            </a:br>
            <a:br>
              <a:rPr lang="en-DK"/>
            </a:br>
            <a:r>
              <a:rPr lang="en-GB" i="1"/>
              <a:t>LE25-907a </a:t>
            </a:r>
            <a:r>
              <a:rPr lang="en-GB" i="1" err="1"/>
              <a:t>Whats</a:t>
            </a:r>
            <a:r>
              <a:rPr lang="en-GB" i="1"/>
              <a:t> new in Power BI (for sales)</a:t>
            </a:r>
            <a:br>
              <a:rPr lang="en-GB" i="1"/>
            </a:br>
            <a:br>
              <a:rPr lang="en-DK"/>
            </a:br>
            <a:r>
              <a:rPr lang="en-DK"/>
              <a:t>There are </a:t>
            </a:r>
            <a:r>
              <a:rPr lang="en-US" strike="sngStrike"/>
              <a:t>3</a:t>
            </a:r>
            <a:r>
              <a:rPr lang="en-US"/>
              <a:t> 4</a:t>
            </a:r>
            <a:r>
              <a:rPr lang="en-DK"/>
              <a:t> videos</a:t>
            </a:r>
            <a:br>
              <a:rPr lang="en-US"/>
            </a:br>
            <a:r>
              <a:rPr lang="en-US" sz="1800"/>
              <a:t>Intro</a:t>
            </a:r>
            <a:br>
              <a:rPr lang="en-US" sz="1800"/>
            </a:br>
            <a:r>
              <a:rPr lang="en-US" sz="1800"/>
              <a:t>PBI for sales (the AI part)</a:t>
            </a:r>
            <a:br>
              <a:rPr lang="en-US" sz="1800">
                <a:highlight>
                  <a:srgbClr val="00FF00"/>
                </a:highlight>
              </a:rPr>
            </a:br>
            <a:r>
              <a:rPr lang="en-US" sz="1800">
                <a:highlight>
                  <a:srgbClr val="00FF00"/>
                </a:highlight>
              </a:rPr>
              <a:t>Learn more</a:t>
            </a:r>
            <a:endParaRPr lang="en-GB" sz="1800">
              <a:highlight>
                <a:srgbClr val="00FF00"/>
              </a:highlight>
            </a:endParaRPr>
          </a:p>
        </p:txBody>
      </p:sp>
    </p:spTree>
    <p:extLst>
      <p:ext uri="{BB962C8B-B14F-4D97-AF65-F5344CB8AC3E}">
        <p14:creationId xmlns:p14="http://schemas.microsoft.com/office/powerpoint/2010/main" val="391106992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35C7D-92A7-2975-24B2-EE75D81C11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54E0C9-E99E-CA21-2E1A-9EFEA3F4DDC1}"/>
              </a:ext>
            </a:extLst>
          </p:cNvPr>
          <p:cNvSpPr>
            <a:spLocks noGrp="1"/>
          </p:cNvSpPr>
          <p:nvPr>
            <p:ph type="title"/>
          </p:nvPr>
        </p:nvSpPr>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Enhanced Power BI app for </a:t>
            </a:r>
            <a:r>
              <a:rPr lang="en-US" i="1" spc="0">
                <a:gradFill>
                  <a:gsLst>
                    <a:gs pos="0">
                      <a:schemeClr val="tx2">
                        <a:lumMod val="50000"/>
                      </a:schemeClr>
                    </a:gs>
                    <a:gs pos="82000">
                      <a:schemeClr val="accent4"/>
                    </a:gs>
                    <a:gs pos="45000">
                      <a:schemeClr val="tx2"/>
                    </a:gs>
                  </a:gsLst>
                  <a:lin ang="13500000" scaled="1"/>
                </a:gradFill>
              </a:rPr>
              <a:t>Sales </a:t>
            </a:r>
            <a:r>
              <a:rPr lang="en-US" spc="0">
                <a:gradFill>
                  <a:gsLst>
                    <a:gs pos="0">
                      <a:schemeClr val="tx2">
                        <a:lumMod val="50000"/>
                      </a:schemeClr>
                    </a:gs>
                    <a:gs pos="82000">
                      <a:schemeClr val="accent4"/>
                    </a:gs>
                    <a:gs pos="45000">
                      <a:schemeClr val="tx2"/>
                    </a:gs>
                  </a:gsLst>
                  <a:lin ang="13500000" scaled="1"/>
                </a:gradFill>
              </a:rPr>
              <a:t>(26.1)</a:t>
            </a:r>
          </a:p>
        </p:txBody>
      </p:sp>
      <p:sp>
        <p:nvSpPr>
          <p:cNvPr id="18" name="Text Placeholder 17">
            <a:extLst>
              <a:ext uri="{FF2B5EF4-FFF2-40B4-BE49-F238E27FC236}">
                <a16:creationId xmlns:a16="http://schemas.microsoft.com/office/drawing/2014/main" id="{4F7811F4-3BC5-F13B-C836-2C489F1FEE68}"/>
              </a:ext>
            </a:extLst>
          </p:cNvPr>
          <p:cNvSpPr>
            <a:spLocks noGrp="1"/>
          </p:cNvSpPr>
          <p:nvPr>
            <p:ph type="body" sz="quarter" idx="16"/>
          </p:nvPr>
        </p:nvSpPr>
        <p:spPr>
          <a:xfrm>
            <a:off x="584200" y="1436688"/>
            <a:ext cx="5219700" cy="492443"/>
          </a:xfrm>
        </p:spPr>
        <p:txBody>
          <a:bodyPr/>
          <a:lstStyle/>
          <a:p>
            <a:r>
              <a:rPr lang="en-US" sz="3200">
                <a:ln w="3175">
                  <a:noFill/>
                </a:ln>
                <a:latin typeface="+mj-lt"/>
              </a:rPr>
              <a:t>New reports</a:t>
            </a:r>
            <a:endParaRPr lang="en-GB" sz="3200">
              <a:ln w="3175">
                <a:noFill/>
              </a:ln>
              <a:latin typeface="+mj-lt"/>
            </a:endParaRPr>
          </a:p>
        </p:txBody>
      </p:sp>
      <p:sp>
        <p:nvSpPr>
          <p:cNvPr id="4" name="Content Placeholder 3">
            <a:extLst>
              <a:ext uri="{FF2B5EF4-FFF2-40B4-BE49-F238E27FC236}">
                <a16:creationId xmlns:a16="http://schemas.microsoft.com/office/drawing/2014/main" id="{10A608CD-CCB2-059E-251B-49B6B9938E65}"/>
              </a:ext>
            </a:extLst>
          </p:cNvPr>
          <p:cNvSpPr>
            <a:spLocks noGrp="1"/>
          </p:cNvSpPr>
          <p:nvPr>
            <p:ph sz="quarter" idx="11"/>
          </p:nvPr>
        </p:nvSpPr>
        <p:spPr/>
        <p:txBody>
          <a:bodyPr/>
          <a:lstStyle/>
          <a:p>
            <a:pPr marL="0" indent="0">
              <a:buNone/>
            </a:pPr>
            <a:r>
              <a:rPr lang="en-GB" sz="2400">
                <a:ln w="3175">
                  <a:noFill/>
                </a:ln>
                <a:latin typeface="+mj-lt"/>
              </a:rPr>
              <a:t>Sales Demographics</a:t>
            </a:r>
          </a:p>
          <a:p>
            <a:pPr marL="0" indent="0">
              <a:buNone/>
            </a:pPr>
            <a:r>
              <a:rPr lang="en-GB" sz="2400">
                <a:ln w="3175">
                  <a:noFill/>
                </a:ln>
                <a:latin typeface="+mj-lt"/>
              </a:rPr>
              <a:t>Sales Drill through</a:t>
            </a:r>
          </a:p>
          <a:p>
            <a:pPr marL="0" indent="0">
              <a:buNone/>
            </a:pPr>
            <a:r>
              <a:rPr lang="en-GB" sz="2400">
                <a:ln w="3175">
                  <a:noFill/>
                </a:ln>
                <a:latin typeface="+mj-lt"/>
              </a:rPr>
              <a:t>Sales Decomposition</a:t>
            </a:r>
          </a:p>
          <a:p>
            <a:pPr marL="0" indent="0">
              <a:buNone/>
            </a:pPr>
            <a:r>
              <a:rPr lang="en-GB" sz="2400">
                <a:ln w="3175">
                  <a:noFill/>
                </a:ln>
                <a:latin typeface="+mj-lt"/>
              </a:rPr>
              <a:t>Key Sales Influencers</a:t>
            </a:r>
          </a:p>
          <a:p>
            <a:pPr marL="0" indent="0">
              <a:buNone/>
            </a:pPr>
            <a:r>
              <a:rPr lang="en-GB" sz="2400">
                <a:ln w="3175">
                  <a:noFill/>
                </a:ln>
                <a:latin typeface="+mj-lt"/>
              </a:rPr>
              <a:t>Opportunity Overview</a:t>
            </a:r>
          </a:p>
          <a:p>
            <a:pPr marL="0" indent="0">
              <a:buNone/>
            </a:pPr>
            <a:r>
              <a:rPr lang="en-GB" sz="2400">
                <a:ln w="3175">
                  <a:noFill/>
                </a:ln>
                <a:latin typeface="+mj-lt"/>
              </a:rPr>
              <a:t>Sales Quote Overview</a:t>
            </a:r>
          </a:p>
          <a:p>
            <a:pPr marL="0" indent="0">
              <a:buNone/>
            </a:pPr>
            <a:r>
              <a:rPr lang="en-GB" sz="2400">
                <a:ln w="3175">
                  <a:noFill/>
                </a:ln>
                <a:latin typeface="+mj-lt"/>
              </a:rPr>
              <a:t>Sales Return Overview</a:t>
            </a:r>
          </a:p>
        </p:txBody>
      </p:sp>
      <p:sp>
        <p:nvSpPr>
          <p:cNvPr id="6" name="Text Placeholder 5">
            <a:extLst>
              <a:ext uri="{FF2B5EF4-FFF2-40B4-BE49-F238E27FC236}">
                <a16:creationId xmlns:a16="http://schemas.microsoft.com/office/drawing/2014/main" id="{1284C17C-1842-0A64-9105-F11CE5C00668}"/>
              </a:ext>
            </a:extLst>
          </p:cNvPr>
          <p:cNvSpPr>
            <a:spLocks noGrp="1"/>
          </p:cNvSpPr>
          <p:nvPr>
            <p:ph type="body" sz="quarter" idx="17"/>
          </p:nvPr>
        </p:nvSpPr>
        <p:spPr>
          <a:xfrm>
            <a:off x="6397625" y="1436688"/>
            <a:ext cx="5219700" cy="492443"/>
          </a:xfrm>
        </p:spPr>
        <p:txBody>
          <a:bodyPr/>
          <a:lstStyle/>
          <a:p>
            <a:r>
              <a:rPr lang="en-US" sz="3200">
                <a:ln w="3175">
                  <a:noFill/>
                </a:ln>
              </a:rPr>
              <a:t>Updated reports</a:t>
            </a:r>
            <a:endParaRPr lang="en-GB" sz="3200">
              <a:ln w="3175">
                <a:noFill/>
              </a:ln>
            </a:endParaRPr>
          </a:p>
        </p:txBody>
      </p:sp>
      <p:sp>
        <p:nvSpPr>
          <p:cNvPr id="5" name="Content Placeholder 4">
            <a:extLst>
              <a:ext uri="{FF2B5EF4-FFF2-40B4-BE49-F238E27FC236}">
                <a16:creationId xmlns:a16="http://schemas.microsoft.com/office/drawing/2014/main" id="{3B0DCB12-E0CD-7225-7D66-B564D4A4CDC5}"/>
              </a:ext>
            </a:extLst>
          </p:cNvPr>
          <p:cNvSpPr>
            <a:spLocks noGrp="1"/>
          </p:cNvSpPr>
          <p:nvPr>
            <p:ph sz="quarter" idx="13"/>
          </p:nvPr>
        </p:nvSpPr>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Month-To-Dat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Item</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Customer</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Sales Person</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Location</a:t>
            </a:r>
          </a:p>
          <a:p>
            <a:pPr marL="0" indent="0">
              <a:buNone/>
            </a:pPr>
            <a:endParaRPr lang="en-GB"/>
          </a:p>
        </p:txBody>
      </p:sp>
    </p:spTree>
    <p:extLst>
      <p:ext uri="{BB962C8B-B14F-4D97-AF65-F5344CB8AC3E}">
        <p14:creationId xmlns:p14="http://schemas.microsoft.com/office/powerpoint/2010/main" val="259829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686A9-1288-311A-5B38-E58510D70C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1E9DF2-C930-809C-44F0-156567E7E2D4}"/>
              </a:ext>
            </a:extLst>
          </p:cNvPr>
          <p:cNvSpPr>
            <a:spLocks noGrp="1"/>
          </p:cNvSpPr>
          <p:nvPr>
            <p:ph type="title"/>
          </p:nvPr>
        </p:nvSpPr>
        <p:spPr>
          <a:xfrm>
            <a:off x="588263" y="457200"/>
            <a:ext cx="11018520" cy="553998"/>
          </a:xfrm>
        </p:spPr>
        <p:txBody>
          <a:bodyPr/>
          <a:lstStyle/>
          <a:p>
            <a:pPr>
              <a:spcBef>
                <a:spcPts val="0"/>
              </a:spcBef>
              <a:buSzPct val="90000"/>
            </a:pPr>
            <a:r>
              <a:rPr lang="en-GB" spc="0">
                <a:gradFill>
                  <a:gsLst>
                    <a:gs pos="0">
                      <a:schemeClr val="tx2">
                        <a:lumMod val="50000"/>
                      </a:schemeClr>
                    </a:gs>
                    <a:gs pos="82000">
                      <a:schemeClr val="accent4"/>
                    </a:gs>
                    <a:gs pos="45000">
                      <a:schemeClr val="tx2"/>
                    </a:gs>
                  </a:gsLst>
                  <a:lin ang="13500000" scaled="1"/>
                </a:gradFill>
              </a:rPr>
              <a:t>Vision: For </a:t>
            </a:r>
            <a:r>
              <a:rPr lang="en-GB" i="1" spc="0">
                <a:gradFill>
                  <a:gsLst>
                    <a:gs pos="0">
                      <a:schemeClr val="tx2">
                        <a:lumMod val="50000"/>
                      </a:schemeClr>
                    </a:gs>
                    <a:gs pos="82000">
                      <a:schemeClr val="accent4"/>
                    </a:gs>
                    <a:gs pos="45000">
                      <a:schemeClr val="tx2"/>
                    </a:gs>
                  </a:gsLst>
                  <a:lin ang="13500000" scaled="1"/>
                </a:gradFill>
              </a:rPr>
              <a:t>manufacturing analytics</a:t>
            </a:r>
            <a:r>
              <a:rPr lang="en-GB" spc="0">
                <a:gradFill>
                  <a:gsLst>
                    <a:gs pos="0">
                      <a:schemeClr val="tx2">
                        <a:lumMod val="50000"/>
                      </a:schemeClr>
                    </a:gs>
                    <a:gs pos="82000">
                      <a:schemeClr val="accent4"/>
                    </a:gs>
                    <a:gs pos="45000">
                      <a:schemeClr val="tx2"/>
                    </a:gs>
                  </a:gsLst>
                  <a:lin ang="13500000" scaled="1"/>
                </a:gradFill>
              </a:rPr>
              <a:t>, in 2025</a:t>
            </a:r>
            <a:endParaRPr lang="en-US" spc="0">
              <a:gradFill>
                <a:gsLst>
                  <a:gs pos="0">
                    <a:schemeClr val="tx2">
                      <a:lumMod val="50000"/>
                    </a:schemeClr>
                  </a:gs>
                  <a:gs pos="82000">
                    <a:schemeClr val="accent4"/>
                  </a:gs>
                  <a:gs pos="45000">
                    <a:schemeClr val="tx2"/>
                  </a:gs>
                </a:gsLst>
                <a:lin ang="13500000" scaled="1"/>
              </a:gradFill>
            </a:endParaRPr>
          </a:p>
        </p:txBody>
      </p:sp>
      <p:sp>
        <p:nvSpPr>
          <p:cNvPr id="18" name="Text Placeholder 17">
            <a:extLst>
              <a:ext uri="{FF2B5EF4-FFF2-40B4-BE49-F238E27FC236}">
                <a16:creationId xmlns:a16="http://schemas.microsoft.com/office/drawing/2014/main" id="{80C13833-32B6-552C-A865-BE7CD1F72805}"/>
              </a:ext>
            </a:extLst>
          </p:cNvPr>
          <p:cNvSpPr>
            <a:spLocks noGrp="1"/>
          </p:cNvSpPr>
          <p:nvPr>
            <p:ph type="body" sz="quarter" idx="10"/>
          </p:nvPr>
        </p:nvSpPr>
        <p:spPr>
          <a:xfrm>
            <a:off x="586390" y="1434370"/>
            <a:ext cx="11018520" cy="4296561"/>
          </a:xfrm>
        </p:spPr>
        <p:txBody>
          <a:bodyPr/>
          <a:lstStyle/>
          <a:p>
            <a:r>
              <a:rPr lang="en-GB"/>
              <a:t>… we have completely sanitized reporting and analytics.</a:t>
            </a:r>
          </a:p>
          <a:p>
            <a:pPr marL="457200" indent="-457200">
              <a:buFont typeface="Arial" panose="020B0604020202020204" pitchFamily="34" charset="0"/>
              <a:buChar char="•"/>
            </a:pPr>
            <a:endParaRPr lang="en-GB"/>
          </a:p>
          <a:p>
            <a:r>
              <a:rPr lang="en-GB"/>
              <a:t>Everything you can </a:t>
            </a:r>
            <a:r>
              <a:rPr lang="en-GB" err="1"/>
              <a:t>analyze</a:t>
            </a:r>
            <a:r>
              <a:rPr lang="en-GB"/>
              <a:t> with existing reports has a new way: in </a:t>
            </a:r>
            <a:r>
              <a:rPr lang="en-GB">
                <a:highlight>
                  <a:srgbClr val="FFFF00"/>
                </a:highlight>
              </a:rPr>
              <a:t>Power BI</a:t>
            </a:r>
            <a:r>
              <a:rPr lang="en-GB"/>
              <a:t>, data analysis, or with an </a:t>
            </a:r>
            <a:r>
              <a:rPr lang="en-GB">
                <a:highlight>
                  <a:srgbClr val="008000"/>
                </a:highlight>
                <a:cs typeface="+mn-cs"/>
              </a:rPr>
              <a:t>Excel</a:t>
            </a:r>
            <a:r>
              <a:rPr lang="en-GB"/>
              <a:t> report.</a:t>
            </a:r>
          </a:p>
          <a:p>
            <a:pPr marL="685800" lvl="1" indent="-457200">
              <a:buFont typeface="+mj-lt"/>
              <a:buAutoNum type="arabicPeriod"/>
            </a:pPr>
            <a:r>
              <a:rPr lang="en-GB"/>
              <a:t>Users can track new relevant KPIs and scenarios in the </a:t>
            </a:r>
            <a:r>
              <a:rPr lang="en-GB">
                <a:highlight>
                  <a:srgbClr val="FFFF00"/>
                </a:highlight>
              </a:rPr>
              <a:t>updated PBI Manufacturing app</a:t>
            </a:r>
            <a:r>
              <a:rPr lang="en-GB"/>
              <a:t>.</a:t>
            </a:r>
          </a:p>
          <a:p>
            <a:pPr marL="685800" lvl="1" indent="-457200">
              <a:buFont typeface="+mj-lt"/>
              <a:buAutoNum type="arabicPeriod"/>
            </a:pPr>
            <a:r>
              <a:rPr lang="en-GB"/>
              <a:t>Many </a:t>
            </a:r>
            <a:r>
              <a:rPr lang="en-GB" b="1"/>
              <a:t>existing list reports</a:t>
            </a:r>
            <a:r>
              <a:rPr lang="en-GB"/>
              <a:t> get a simple </a:t>
            </a:r>
            <a:r>
              <a:rPr lang="en-GB">
                <a:highlight>
                  <a:srgbClr val="008000"/>
                </a:highlight>
              </a:rPr>
              <a:t>Excel</a:t>
            </a:r>
            <a:r>
              <a:rPr lang="en-GB"/>
              <a:t> layout and maybe also a </a:t>
            </a:r>
            <a:r>
              <a:rPr lang="en-GB">
                <a:highlight>
                  <a:srgbClr val="0078D4"/>
                </a:highlight>
              </a:rPr>
              <a:t>Word</a:t>
            </a:r>
            <a:r>
              <a:rPr lang="en-GB"/>
              <a:t> layout to allow customers to change things as they need. Deprecate legacy RDL layouts.</a:t>
            </a:r>
          </a:p>
          <a:p>
            <a:pPr marL="685800" lvl="1" indent="-457200">
              <a:buFont typeface="+mj-lt"/>
              <a:buAutoNum type="arabicPeriod"/>
            </a:pPr>
            <a:r>
              <a:rPr lang="en-GB"/>
              <a:t>Many of the existing analytical reports have been </a:t>
            </a:r>
            <a:r>
              <a:rPr lang="en-GB" b="1"/>
              <a:t>marked as deprecated</a:t>
            </a:r>
            <a:r>
              <a:rPr lang="en-GB"/>
              <a:t>. Removal set to 2026. For each report, we have specified their replacement(s).</a:t>
            </a:r>
          </a:p>
          <a:p>
            <a:pPr marL="685800" lvl="1" indent="-457200">
              <a:buFont typeface="+mj-lt"/>
              <a:buAutoNum type="arabicPeriod"/>
            </a:pPr>
            <a:r>
              <a:rPr lang="en-GB"/>
              <a:t>New </a:t>
            </a:r>
            <a:r>
              <a:rPr lang="en-GB" b="1"/>
              <a:t>Manufacturing analytics section in Microsoft Learn</a:t>
            </a:r>
            <a:r>
              <a:rPr lang="en-GB"/>
              <a:t>. All existing reports have teaching tips and are documented, including deprecation and replacement options. </a:t>
            </a:r>
          </a:p>
        </p:txBody>
      </p:sp>
      <p:pic>
        <p:nvPicPr>
          <p:cNvPr id="3" name="Graphic 2" descr="Factory with solid fill">
            <a:extLst>
              <a:ext uri="{FF2B5EF4-FFF2-40B4-BE49-F238E27FC236}">
                <a16:creationId xmlns:a16="http://schemas.microsoft.com/office/drawing/2014/main" id="{E40D1B28-EC00-465D-4DE0-6AA2316093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20825" y="148754"/>
            <a:ext cx="914400" cy="914400"/>
          </a:xfrm>
          <a:prstGeom prst="rect">
            <a:avLst/>
          </a:prstGeom>
        </p:spPr>
      </p:pic>
    </p:spTree>
    <p:extLst>
      <p:ext uri="{BB962C8B-B14F-4D97-AF65-F5344CB8AC3E}">
        <p14:creationId xmlns:p14="http://schemas.microsoft.com/office/powerpoint/2010/main" val="84409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91E90C-16E7-42C3-96D0-337EFCB21E4A}"/>
              </a:ext>
            </a:extLst>
          </p:cNvPr>
          <p:cNvSpPr>
            <a:spLocks noGrp="1"/>
          </p:cNvSpPr>
          <p:nvPr>
            <p:ph type="title"/>
          </p:nvPr>
        </p:nvSpPr>
        <p:spPr>
          <a:xfrm>
            <a:off x="588263" y="3152001"/>
            <a:ext cx="2053337" cy="553998"/>
          </a:xfrm>
        </p:spPr>
        <p:txBody>
          <a:bodyPr/>
          <a:lstStyle/>
          <a:p>
            <a:r>
              <a:rPr lang="en-US"/>
              <a:t>Agenda</a:t>
            </a:r>
          </a:p>
        </p:txBody>
      </p:sp>
      <p:sp>
        <p:nvSpPr>
          <p:cNvPr id="6" name="Text Placeholder 5">
            <a:extLst>
              <a:ext uri="{FF2B5EF4-FFF2-40B4-BE49-F238E27FC236}">
                <a16:creationId xmlns:a16="http://schemas.microsoft.com/office/drawing/2014/main" id="{460D15DF-EF97-44E8-BCDF-D3F111A97291}"/>
              </a:ext>
            </a:extLst>
          </p:cNvPr>
          <p:cNvSpPr>
            <a:spLocks noGrp="1"/>
          </p:cNvSpPr>
          <p:nvPr>
            <p:ph type="body" sz="quarter" idx="10"/>
          </p:nvPr>
        </p:nvSpPr>
        <p:spPr>
          <a:xfrm>
            <a:off x="4228351" y="1263700"/>
            <a:ext cx="7685099" cy="4850559"/>
          </a:xfrm>
        </p:spPr>
        <p:txBody>
          <a:bodyPr/>
          <a:lstStyle/>
          <a:p>
            <a:r>
              <a:rPr lang="en-US" sz="3200"/>
              <a:t>Framing the analytics story</a:t>
            </a:r>
          </a:p>
          <a:p>
            <a:r>
              <a:rPr lang="en-US" sz="3200"/>
              <a:t>Discover and explore reports</a:t>
            </a:r>
          </a:p>
          <a:p>
            <a:r>
              <a:rPr lang="en-US" sz="3200"/>
              <a:t>What’s new in…</a:t>
            </a:r>
          </a:p>
          <a:p>
            <a:pPr lvl="1"/>
            <a:r>
              <a:rPr lang="en-US" sz="2400"/>
              <a:t>Finance</a:t>
            </a:r>
          </a:p>
          <a:p>
            <a:pPr lvl="1"/>
            <a:r>
              <a:rPr lang="en-US" sz="2400"/>
              <a:t>Sales</a:t>
            </a:r>
          </a:p>
          <a:p>
            <a:pPr lvl="1"/>
            <a:r>
              <a:rPr lang="en-US" sz="2400"/>
              <a:t>Manufacturing</a:t>
            </a:r>
          </a:p>
          <a:p>
            <a:pPr lvl="1"/>
            <a:r>
              <a:rPr lang="en-US" sz="2400"/>
              <a:t>…</a:t>
            </a:r>
          </a:p>
          <a:p>
            <a:r>
              <a:rPr lang="en-US" sz="3200"/>
              <a:t>Data analysis new features (Peter)</a:t>
            </a:r>
            <a:endParaRPr lang="en-GB" sz="3200"/>
          </a:p>
          <a:p>
            <a:r>
              <a:rPr lang="en-DK" sz="3200"/>
              <a:t>Learn more</a:t>
            </a:r>
            <a:endParaRPr lang="en-US" sz="3200"/>
          </a:p>
        </p:txBody>
      </p:sp>
    </p:spTree>
    <p:extLst>
      <p:ext uri="{BB962C8B-B14F-4D97-AF65-F5344CB8AC3E}">
        <p14:creationId xmlns:p14="http://schemas.microsoft.com/office/powerpoint/2010/main" val="42691869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B0DEF-D2B1-F47C-8010-D412790A97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F83D28-44DF-71E7-51F2-D0A96DCEDF6B}"/>
              </a:ext>
            </a:extLst>
          </p:cNvPr>
          <p:cNvSpPr>
            <a:spLocks noGrp="1"/>
          </p:cNvSpPr>
          <p:nvPr>
            <p:ph type="title"/>
          </p:nvPr>
        </p:nvSpPr>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Enhanced Power BI app for </a:t>
            </a:r>
            <a:r>
              <a:rPr lang="en-US" i="1" spc="0">
                <a:gradFill>
                  <a:gsLst>
                    <a:gs pos="0">
                      <a:schemeClr val="tx2">
                        <a:lumMod val="50000"/>
                      </a:schemeClr>
                    </a:gs>
                    <a:gs pos="82000">
                      <a:schemeClr val="accent4"/>
                    </a:gs>
                    <a:gs pos="45000">
                      <a:schemeClr val="tx2"/>
                    </a:gs>
                  </a:gsLst>
                  <a:lin ang="13500000" scaled="1"/>
                </a:gradFill>
              </a:rPr>
              <a:t>Manufacturing </a:t>
            </a:r>
            <a:r>
              <a:rPr lang="en-US" spc="0">
                <a:gradFill>
                  <a:gsLst>
                    <a:gs pos="0">
                      <a:schemeClr val="tx2">
                        <a:lumMod val="50000"/>
                      </a:schemeClr>
                    </a:gs>
                    <a:gs pos="82000">
                      <a:schemeClr val="accent4"/>
                    </a:gs>
                    <a:gs pos="45000">
                      <a:schemeClr val="tx2"/>
                    </a:gs>
                  </a:gsLst>
                  <a:lin ang="13500000" scaled="1"/>
                </a:gradFill>
              </a:rPr>
              <a:t>(26.1)</a:t>
            </a:r>
          </a:p>
        </p:txBody>
      </p:sp>
      <p:sp>
        <p:nvSpPr>
          <p:cNvPr id="18" name="Text Placeholder 17">
            <a:extLst>
              <a:ext uri="{FF2B5EF4-FFF2-40B4-BE49-F238E27FC236}">
                <a16:creationId xmlns:a16="http://schemas.microsoft.com/office/drawing/2014/main" id="{22AEF863-95A4-A77D-1E44-EC2CD3370E67}"/>
              </a:ext>
            </a:extLst>
          </p:cNvPr>
          <p:cNvSpPr>
            <a:spLocks noGrp="1"/>
          </p:cNvSpPr>
          <p:nvPr>
            <p:ph type="body" sz="quarter" idx="16"/>
          </p:nvPr>
        </p:nvSpPr>
        <p:spPr>
          <a:xfrm>
            <a:off x="584200" y="1436688"/>
            <a:ext cx="5219700" cy="492443"/>
          </a:xfrm>
        </p:spPr>
        <p:txBody>
          <a:bodyPr/>
          <a:lstStyle/>
          <a:p>
            <a:r>
              <a:rPr lang="en-US" sz="3200">
                <a:ln w="3175">
                  <a:noFill/>
                </a:ln>
              </a:rPr>
              <a:t>Updated </a:t>
            </a:r>
            <a:r>
              <a:rPr lang="en-US" sz="3200">
                <a:ln w="3175">
                  <a:noFill/>
                </a:ln>
                <a:latin typeface="+mj-lt"/>
              </a:rPr>
              <a:t>reports</a:t>
            </a:r>
            <a:endParaRPr lang="en-GB" sz="3200">
              <a:ln w="3175">
                <a:noFill/>
              </a:ln>
              <a:latin typeface="+mj-lt"/>
            </a:endParaRPr>
          </a:p>
        </p:txBody>
      </p:sp>
      <p:sp>
        <p:nvSpPr>
          <p:cNvPr id="4" name="Content Placeholder 3">
            <a:extLst>
              <a:ext uri="{FF2B5EF4-FFF2-40B4-BE49-F238E27FC236}">
                <a16:creationId xmlns:a16="http://schemas.microsoft.com/office/drawing/2014/main" id="{D15F4AB2-CD57-B411-711E-951B5E075D54}"/>
              </a:ext>
            </a:extLst>
          </p:cNvPr>
          <p:cNvSpPr>
            <a:spLocks noGrp="1"/>
          </p:cNvSpPr>
          <p:nvPr>
            <p:ph sz="quarter" idx="11"/>
          </p:nvPr>
        </p:nvSpPr>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Work </a:t>
            </a:r>
            <a:r>
              <a:rPr kumimoji="0" lang="en-GB" sz="24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Expected Capacity Nee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Finished Production Orders</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onsumption Varianc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apacity Varianc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Production Scrap</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Deprecated (replaced by Load reports)</a:t>
            </a:r>
          </a:p>
          <a:p>
            <a:pPr marL="228600" lvl="1" indent="0">
              <a:buSzPct val="90000"/>
              <a:buNone/>
              <a:defRPr/>
            </a:pPr>
            <a:r>
              <a:rPr kumimoji="0" lang="en-GB"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urrent Utilization</a:t>
            </a:r>
          </a:p>
          <a:p>
            <a:pPr marL="228600" lvl="1" indent="0">
              <a:buSzPct val="90000"/>
              <a:buNone/>
              <a:defRPr/>
            </a:pPr>
            <a:r>
              <a:rPr kumimoji="0" lang="en-GB"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Historical Utilization</a:t>
            </a:r>
            <a:endParaRPr lang="en-GB"/>
          </a:p>
          <a:p>
            <a:pPr marL="0" indent="0">
              <a:buNone/>
            </a:pPr>
            <a:endParaRPr lang="en-GB" sz="2400">
              <a:ln w="3175">
                <a:noFill/>
              </a:ln>
              <a:latin typeface="+mj-lt"/>
            </a:endParaRPr>
          </a:p>
        </p:txBody>
      </p:sp>
      <p:sp>
        <p:nvSpPr>
          <p:cNvPr id="6" name="Text Placeholder 5">
            <a:extLst>
              <a:ext uri="{FF2B5EF4-FFF2-40B4-BE49-F238E27FC236}">
                <a16:creationId xmlns:a16="http://schemas.microsoft.com/office/drawing/2014/main" id="{CDA772FB-C7A3-4B59-A31F-8B01EDAF13BA}"/>
              </a:ext>
            </a:extLst>
          </p:cNvPr>
          <p:cNvSpPr>
            <a:spLocks noGrp="1"/>
          </p:cNvSpPr>
          <p:nvPr>
            <p:ph type="body" sz="quarter" idx="17"/>
          </p:nvPr>
        </p:nvSpPr>
        <p:spPr>
          <a:xfrm>
            <a:off x="6397625" y="1436688"/>
            <a:ext cx="5219700" cy="492443"/>
          </a:xfrm>
        </p:spPr>
        <p:txBody>
          <a:bodyPr/>
          <a:lstStyle/>
          <a:p>
            <a:r>
              <a:rPr lang="en-US" sz="3200">
                <a:ln w="3175">
                  <a:noFill/>
                </a:ln>
                <a:latin typeface="+mj-lt"/>
              </a:rPr>
              <a:t>New </a:t>
            </a:r>
            <a:r>
              <a:rPr lang="en-US" sz="3200">
                <a:ln w="3175">
                  <a:noFill/>
                </a:ln>
              </a:rPr>
              <a:t>reports</a:t>
            </a:r>
            <a:endParaRPr lang="en-GB" sz="3200">
              <a:ln w="3175">
                <a:noFill/>
              </a:ln>
            </a:endParaRPr>
          </a:p>
        </p:txBody>
      </p:sp>
      <p:sp>
        <p:nvSpPr>
          <p:cNvPr id="5" name="Content Placeholder 4">
            <a:extLst>
              <a:ext uri="{FF2B5EF4-FFF2-40B4-BE49-F238E27FC236}">
                <a16:creationId xmlns:a16="http://schemas.microsoft.com/office/drawing/2014/main" id="{A3EADDAE-515A-8374-62DB-2A52DA25C839}"/>
              </a:ext>
            </a:extLst>
          </p:cNvPr>
          <p:cNvSpPr>
            <a:spLocks noGrp="1"/>
          </p:cNvSpPr>
          <p:nvPr>
            <p:ph sz="quarter" idx="13"/>
          </p:nvPr>
        </p:nvSpPr>
        <p:spPr>
          <a:xfrm>
            <a:off x="6394451" y="2081212"/>
            <a:ext cx="5606502" cy="4187825"/>
          </a:xfrm>
        </p:spPr>
        <p:txBody>
          <a:bodyPr/>
          <a:lstStyle/>
          <a:p>
            <a:pPr marL="0" indent="0">
              <a:buNone/>
            </a:pPr>
            <a:r>
              <a:rPr lang="en-GB" sz="2400">
                <a:ln w="3175">
                  <a:noFill/>
                </a:ln>
                <a:latin typeface="+mj-lt"/>
              </a:rPr>
              <a:t>Work </a:t>
            </a:r>
            <a:r>
              <a:rPr lang="en-GB" sz="2400" err="1">
                <a:ln w="3175">
                  <a:noFill/>
                </a:ln>
                <a:latin typeface="+mj-lt"/>
              </a:rPr>
              <a:t>Center</a:t>
            </a:r>
            <a:r>
              <a:rPr lang="en-GB" sz="2400">
                <a:ln w="3175">
                  <a:noFill/>
                </a:ln>
                <a:latin typeface="+mj-lt"/>
              </a:rPr>
              <a:t> Statistics</a:t>
            </a:r>
          </a:p>
          <a:p>
            <a:pPr marL="0" indent="0">
              <a:buNone/>
            </a:pPr>
            <a:r>
              <a:rPr lang="en-GB" sz="2400">
                <a:ln w="3175">
                  <a:noFill/>
                </a:ln>
                <a:latin typeface="+mj-lt"/>
              </a:rPr>
              <a:t>Machine </a:t>
            </a:r>
            <a:r>
              <a:rPr lang="en-GB" sz="2400" err="1">
                <a:ln w="3175">
                  <a:noFill/>
                </a:ln>
                <a:latin typeface="+mj-lt"/>
              </a:rPr>
              <a:t>Center</a:t>
            </a:r>
            <a:r>
              <a:rPr lang="en-GB" sz="2400">
                <a:ln w="3175">
                  <a:noFill/>
                </a:ln>
                <a:latin typeface="+mj-lt"/>
              </a:rPr>
              <a:t> Statistics</a:t>
            </a:r>
          </a:p>
          <a:p>
            <a:pPr marL="0" indent="0">
              <a:buNone/>
            </a:pPr>
            <a:r>
              <a:rPr lang="en-GB" sz="2400">
                <a:ln w="3175">
                  <a:noFill/>
                </a:ln>
                <a:latin typeface="+mj-lt"/>
              </a:rPr>
              <a:t>Machine </a:t>
            </a:r>
            <a:r>
              <a:rPr lang="en-GB" sz="2400" err="1">
                <a:ln w="3175">
                  <a:noFill/>
                </a:ln>
                <a:latin typeface="+mj-lt"/>
              </a:rPr>
              <a:t>Center</a:t>
            </a:r>
            <a:r>
              <a:rPr lang="en-GB" sz="2400">
                <a:ln w="3175">
                  <a:noFill/>
                </a:ln>
                <a:latin typeface="+mj-lt"/>
              </a:rPr>
              <a:t> Load</a:t>
            </a:r>
          </a:p>
          <a:p>
            <a:pPr marL="0" indent="0">
              <a:buNone/>
            </a:pPr>
            <a:r>
              <a:rPr lang="en-GB" sz="2400">
                <a:ln w="3175">
                  <a:noFill/>
                </a:ln>
                <a:latin typeface="+mj-lt"/>
              </a:rPr>
              <a:t>Prod. Order - List</a:t>
            </a:r>
          </a:p>
          <a:p>
            <a:pPr marL="0" indent="0">
              <a:buNone/>
            </a:pPr>
            <a:r>
              <a:rPr lang="en-GB" sz="2400">
                <a:ln w="3175">
                  <a:noFill/>
                </a:ln>
                <a:latin typeface="+mj-lt"/>
              </a:rPr>
              <a:t>Production Order Overview</a:t>
            </a:r>
          </a:p>
          <a:p>
            <a:pPr marL="0" indent="0">
              <a:buNone/>
            </a:pPr>
            <a:r>
              <a:rPr lang="en-GB" sz="2400">
                <a:ln w="3175">
                  <a:noFill/>
                </a:ln>
                <a:latin typeface="+mj-lt"/>
              </a:rPr>
              <a:t>Task List Drill through</a:t>
            </a:r>
          </a:p>
          <a:p>
            <a:pPr marL="0" indent="0">
              <a:buNone/>
            </a:pPr>
            <a:r>
              <a:rPr lang="en-GB" sz="2400">
                <a:ln w="3175">
                  <a:noFill/>
                </a:ln>
                <a:latin typeface="+mj-lt"/>
              </a:rPr>
              <a:t>Prod. Order Routing Gantt</a:t>
            </a:r>
          </a:p>
          <a:p>
            <a:pPr marL="0" indent="0">
              <a:buNone/>
            </a:pPr>
            <a:r>
              <a:rPr lang="en-GB" sz="2400">
                <a:ln w="3175">
                  <a:noFill/>
                </a:ln>
                <a:latin typeface="+mj-lt"/>
              </a:rPr>
              <a:t>Task List Drill through</a:t>
            </a:r>
          </a:p>
        </p:txBody>
      </p:sp>
    </p:spTree>
    <p:extLst>
      <p:ext uri="{BB962C8B-B14F-4D97-AF65-F5344CB8AC3E}">
        <p14:creationId xmlns:p14="http://schemas.microsoft.com/office/powerpoint/2010/main" val="257600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99F48-EFA2-A354-8D79-359B353AF50E}"/>
              </a:ext>
            </a:extLst>
          </p:cNvPr>
          <p:cNvSpPr>
            <a:spLocks noGrp="1"/>
          </p:cNvSpPr>
          <p:nvPr>
            <p:ph type="title"/>
          </p:nvPr>
        </p:nvSpPr>
        <p:spPr/>
        <p:txBody>
          <a:bodyPr/>
          <a:lstStyle/>
          <a:p>
            <a:r>
              <a:rPr lang="en-US"/>
              <a:t>Work Centre Load</a:t>
            </a:r>
            <a:endParaRPr lang="en-GB"/>
          </a:p>
        </p:txBody>
      </p:sp>
      <p:sp>
        <p:nvSpPr>
          <p:cNvPr id="3" name="Text Placeholder 2">
            <a:extLst>
              <a:ext uri="{FF2B5EF4-FFF2-40B4-BE49-F238E27FC236}">
                <a16:creationId xmlns:a16="http://schemas.microsoft.com/office/drawing/2014/main" id="{7C89DEB9-4D50-4C96-E958-E433AD6113CD}"/>
              </a:ext>
            </a:extLst>
          </p:cNvPr>
          <p:cNvSpPr>
            <a:spLocks noGrp="1"/>
          </p:cNvSpPr>
          <p:nvPr>
            <p:ph type="body" sz="quarter" idx="16"/>
          </p:nvPr>
        </p:nvSpPr>
        <p:spPr/>
        <p:txBody>
          <a:bodyPr/>
          <a:lstStyle/>
          <a:p>
            <a:r>
              <a:rPr lang="en-US">
                <a:gradFill>
                  <a:gsLst>
                    <a:gs pos="0">
                      <a:schemeClr val="tx2">
                        <a:lumMod val="50000"/>
                      </a:schemeClr>
                    </a:gs>
                    <a:gs pos="82000">
                      <a:schemeClr val="accent4"/>
                    </a:gs>
                    <a:gs pos="45000">
                      <a:schemeClr val="tx2"/>
                    </a:gs>
                  </a:gsLst>
                  <a:lin ang="13500000" scaled="1"/>
                </a:gradFill>
              </a:rPr>
              <a:t>25.1</a:t>
            </a:r>
            <a:endParaRPr lang="en-GB">
              <a:gradFill>
                <a:gsLst>
                  <a:gs pos="0">
                    <a:schemeClr val="tx2">
                      <a:lumMod val="50000"/>
                    </a:schemeClr>
                  </a:gs>
                  <a:gs pos="82000">
                    <a:schemeClr val="accent4"/>
                  </a:gs>
                  <a:gs pos="45000">
                    <a:schemeClr val="tx2"/>
                  </a:gs>
                </a:gsLst>
                <a:lin ang="13500000" scaled="1"/>
              </a:gradFill>
            </a:endParaRPr>
          </a:p>
        </p:txBody>
      </p:sp>
      <p:sp>
        <p:nvSpPr>
          <p:cNvPr id="5" name="Text Placeholder 4">
            <a:extLst>
              <a:ext uri="{FF2B5EF4-FFF2-40B4-BE49-F238E27FC236}">
                <a16:creationId xmlns:a16="http://schemas.microsoft.com/office/drawing/2014/main" id="{7B3A7012-50D5-6AA5-E716-33CC1ECB9EFD}"/>
              </a:ext>
            </a:extLst>
          </p:cNvPr>
          <p:cNvSpPr>
            <a:spLocks noGrp="1"/>
          </p:cNvSpPr>
          <p:nvPr>
            <p:ph type="body" sz="quarter" idx="17"/>
          </p:nvPr>
        </p:nvSpPr>
        <p:spPr/>
        <p:txBody>
          <a:bodyPr/>
          <a:lstStyle/>
          <a:p>
            <a:r>
              <a:rPr lang="en-US">
                <a:gradFill>
                  <a:gsLst>
                    <a:gs pos="0">
                      <a:schemeClr val="tx2">
                        <a:lumMod val="50000"/>
                      </a:schemeClr>
                    </a:gs>
                    <a:gs pos="82000">
                      <a:schemeClr val="accent4"/>
                    </a:gs>
                    <a:gs pos="45000">
                      <a:schemeClr val="tx2"/>
                    </a:gs>
                  </a:gsLst>
                  <a:lin ang="13500000" scaled="1"/>
                </a:gradFill>
              </a:rPr>
              <a:t>Now (26.1)</a:t>
            </a:r>
            <a:endParaRPr lang="en-GB">
              <a:gradFill>
                <a:gsLst>
                  <a:gs pos="0">
                    <a:schemeClr val="tx2">
                      <a:lumMod val="50000"/>
                    </a:schemeClr>
                  </a:gs>
                  <a:gs pos="82000">
                    <a:schemeClr val="accent4"/>
                  </a:gs>
                  <a:gs pos="45000">
                    <a:schemeClr val="tx2"/>
                  </a:gs>
                </a:gsLst>
                <a:lin ang="13500000" scaled="1"/>
              </a:gradFill>
            </a:endParaRPr>
          </a:p>
        </p:txBody>
      </p:sp>
      <p:pic>
        <p:nvPicPr>
          <p:cNvPr id="7" name="Picture 2" descr="Screenshot of the Work Centre Load Power BI Report">
            <a:extLst>
              <a:ext uri="{FF2B5EF4-FFF2-40B4-BE49-F238E27FC236}">
                <a16:creationId xmlns:a16="http://schemas.microsoft.com/office/drawing/2014/main" id="{4458194E-280A-1D73-A47B-B5619909FBC4}"/>
              </a:ext>
            </a:extLst>
          </p:cNvPr>
          <p:cNvPicPr>
            <a:picLocks noGrp="1" noChangeAspect="1" noChangeArrowheads="1"/>
          </p:cNvPicPr>
          <p:nvPr>
            <p:ph sz="quarter" idx="11"/>
          </p:nvPr>
        </p:nvPicPr>
        <p:blipFill>
          <a:blip r:embed="rId2">
            <a:extLst>
              <a:ext uri="{28A0092B-C50C-407E-A947-70E740481C1C}">
                <a14:useLocalDpi xmlns:a14="http://schemas.microsoft.com/office/drawing/2010/main" val="0"/>
              </a:ext>
            </a:extLst>
          </a:blip>
          <a:srcRect/>
          <a:stretch/>
        </p:blipFill>
        <p:spPr bwMode="auto">
          <a:xfrm>
            <a:off x="588963" y="2708425"/>
            <a:ext cx="5214937" cy="2933401"/>
          </a:xfrm>
          <a:prstGeom prst="rect">
            <a:avLst/>
          </a:prstGeom>
          <a:solidFill>
            <a:srgbClr val="FFFFFF"/>
          </a:solidFill>
        </p:spPr>
      </p:pic>
      <p:pic>
        <p:nvPicPr>
          <p:cNvPr id="8" name="Content Placeholder 7">
            <a:extLst>
              <a:ext uri="{FF2B5EF4-FFF2-40B4-BE49-F238E27FC236}">
                <a16:creationId xmlns:a16="http://schemas.microsoft.com/office/drawing/2014/main" id="{C42686BD-F8BC-3829-B99A-00F0580D93A0}"/>
              </a:ext>
            </a:extLst>
          </p:cNvPr>
          <p:cNvPicPr>
            <a:picLocks noGrp="1" noChangeAspect="1"/>
          </p:cNvPicPr>
          <p:nvPr>
            <p:ph sz="quarter" idx="13"/>
          </p:nvPr>
        </p:nvPicPr>
        <p:blipFill>
          <a:blip r:embed="rId3"/>
          <a:stretch>
            <a:fillRect/>
          </a:stretch>
        </p:blipFill>
        <p:spPr>
          <a:xfrm>
            <a:off x="6394450" y="2711197"/>
            <a:ext cx="5214938" cy="2927857"/>
          </a:xfrm>
          <a:prstGeom prst="rect">
            <a:avLst/>
          </a:prstGeom>
        </p:spPr>
      </p:pic>
    </p:spTree>
    <p:extLst>
      <p:ext uri="{BB962C8B-B14F-4D97-AF65-F5344CB8AC3E}">
        <p14:creationId xmlns:p14="http://schemas.microsoft.com/office/powerpoint/2010/main" val="386223118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29D31-BED9-5589-7F1E-DEFECB52D2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0097E4-432B-6DB4-8CA1-1B8BF44C3962}"/>
              </a:ext>
            </a:extLst>
          </p:cNvPr>
          <p:cNvSpPr>
            <a:spLocks noGrp="1"/>
          </p:cNvSpPr>
          <p:nvPr>
            <p:ph type="title"/>
          </p:nvPr>
        </p:nvSpPr>
        <p:spPr/>
        <p:txBody>
          <a:bodyPr/>
          <a:lstStyle/>
          <a:p>
            <a:r>
              <a:rPr lang="en-US"/>
              <a:t>Expected Capacity Need</a:t>
            </a:r>
            <a:endParaRPr lang="en-GB"/>
          </a:p>
        </p:txBody>
      </p:sp>
      <p:sp>
        <p:nvSpPr>
          <p:cNvPr id="3" name="Text Placeholder 2">
            <a:extLst>
              <a:ext uri="{FF2B5EF4-FFF2-40B4-BE49-F238E27FC236}">
                <a16:creationId xmlns:a16="http://schemas.microsoft.com/office/drawing/2014/main" id="{85648167-52C4-69F4-0A0C-170646BB798A}"/>
              </a:ext>
            </a:extLst>
          </p:cNvPr>
          <p:cNvSpPr>
            <a:spLocks noGrp="1"/>
          </p:cNvSpPr>
          <p:nvPr>
            <p:ph type="body" sz="quarter" idx="16"/>
          </p:nvPr>
        </p:nvSpPr>
        <p:spPr/>
        <p:txBody>
          <a:bodyPr/>
          <a:lstStyle/>
          <a:p>
            <a:r>
              <a:rPr lang="en-US">
                <a:gradFill>
                  <a:gsLst>
                    <a:gs pos="0">
                      <a:schemeClr val="tx2">
                        <a:lumMod val="50000"/>
                      </a:schemeClr>
                    </a:gs>
                    <a:gs pos="82000">
                      <a:schemeClr val="accent4"/>
                    </a:gs>
                    <a:gs pos="45000">
                      <a:schemeClr val="tx2"/>
                    </a:gs>
                  </a:gsLst>
                  <a:lin ang="13500000" scaled="1"/>
                </a:gradFill>
              </a:rPr>
              <a:t>25.1</a:t>
            </a:r>
            <a:endParaRPr lang="en-GB">
              <a:gradFill>
                <a:gsLst>
                  <a:gs pos="0">
                    <a:schemeClr val="tx2">
                      <a:lumMod val="50000"/>
                    </a:schemeClr>
                  </a:gs>
                  <a:gs pos="82000">
                    <a:schemeClr val="accent4"/>
                  </a:gs>
                  <a:gs pos="45000">
                    <a:schemeClr val="tx2"/>
                  </a:gs>
                </a:gsLst>
                <a:lin ang="13500000" scaled="1"/>
              </a:gradFill>
            </a:endParaRPr>
          </a:p>
        </p:txBody>
      </p:sp>
      <p:sp>
        <p:nvSpPr>
          <p:cNvPr id="5" name="Text Placeholder 4">
            <a:extLst>
              <a:ext uri="{FF2B5EF4-FFF2-40B4-BE49-F238E27FC236}">
                <a16:creationId xmlns:a16="http://schemas.microsoft.com/office/drawing/2014/main" id="{99EB2943-6FA7-1234-7E5B-97E563BDC831}"/>
              </a:ext>
            </a:extLst>
          </p:cNvPr>
          <p:cNvSpPr>
            <a:spLocks noGrp="1"/>
          </p:cNvSpPr>
          <p:nvPr>
            <p:ph type="body" sz="quarter" idx="17"/>
          </p:nvPr>
        </p:nvSpPr>
        <p:spPr/>
        <p:txBody>
          <a:bodyPr/>
          <a:lstStyle/>
          <a:p>
            <a:r>
              <a:rPr lang="en-US">
                <a:gradFill>
                  <a:gsLst>
                    <a:gs pos="0">
                      <a:schemeClr val="tx2">
                        <a:lumMod val="50000"/>
                      </a:schemeClr>
                    </a:gs>
                    <a:gs pos="82000">
                      <a:schemeClr val="accent4"/>
                    </a:gs>
                    <a:gs pos="45000">
                      <a:schemeClr val="tx2"/>
                    </a:gs>
                  </a:gsLst>
                  <a:lin ang="13500000" scaled="1"/>
                </a:gradFill>
              </a:rPr>
              <a:t>Now (26.1)</a:t>
            </a:r>
            <a:endParaRPr lang="en-GB">
              <a:gradFill>
                <a:gsLst>
                  <a:gs pos="0">
                    <a:schemeClr val="tx2">
                      <a:lumMod val="50000"/>
                    </a:schemeClr>
                  </a:gs>
                  <a:gs pos="82000">
                    <a:schemeClr val="accent4"/>
                  </a:gs>
                  <a:gs pos="45000">
                    <a:schemeClr val="tx2"/>
                  </a:gs>
                </a:gsLst>
                <a:lin ang="13500000" scaled="1"/>
              </a:gradFill>
            </a:endParaRPr>
          </a:p>
        </p:txBody>
      </p:sp>
      <p:pic>
        <p:nvPicPr>
          <p:cNvPr id="7" name="Picture 2">
            <a:extLst>
              <a:ext uri="{FF2B5EF4-FFF2-40B4-BE49-F238E27FC236}">
                <a16:creationId xmlns:a16="http://schemas.microsoft.com/office/drawing/2014/main" id="{763400BA-D964-DC99-F68C-14CA1C483847}"/>
              </a:ext>
            </a:extLst>
          </p:cNvPr>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p:blipFill>
        <p:spPr bwMode="auto">
          <a:xfrm>
            <a:off x="588963" y="2708425"/>
            <a:ext cx="5214937" cy="2933401"/>
          </a:xfrm>
          <a:prstGeom prst="rect">
            <a:avLst/>
          </a:prstGeom>
          <a:solidFill>
            <a:srgbClr val="FFFFFF"/>
          </a:solidFill>
        </p:spPr>
      </p:pic>
      <p:pic>
        <p:nvPicPr>
          <p:cNvPr id="8" name="Content Placeholder 7">
            <a:extLst>
              <a:ext uri="{FF2B5EF4-FFF2-40B4-BE49-F238E27FC236}">
                <a16:creationId xmlns:a16="http://schemas.microsoft.com/office/drawing/2014/main" id="{8586C089-8079-260E-C5DB-AE5225ECB670}"/>
              </a:ext>
            </a:extLst>
          </p:cNvPr>
          <p:cNvPicPr>
            <a:picLocks noGrp="1" noChangeAspect="1"/>
          </p:cNvPicPr>
          <p:nvPr>
            <p:ph sz="quarter" idx="13"/>
          </p:nvPr>
        </p:nvPicPr>
        <p:blipFill>
          <a:blip r:embed="rId4">
            <a:extLst>
              <a:ext uri="{28A0092B-C50C-407E-A947-70E740481C1C}">
                <a14:useLocalDpi xmlns:a14="http://schemas.microsoft.com/office/drawing/2010/main" val="0"/>
              </a:ext>
            </a:extLst>
          </a:blip>
          <a:srcRect/>
          <a:stretch/>
        </p:blipFill>
        <p:spPr>
          <a:xfrm>
            <a:off x="6394450" y="2711197"/>
            <a:ext cx="5214938" cy="2927857"/>
          </a:xfrm>
          <a:prstGeom prst="rect">
            <a:avLst/>
          </a:prstGeom>
        </p:spPr>
      </p:pic>
    </p:spTree>
    <p:extLst>
      <p:ext uri="{BB962C8B-B14F-4D97-AF65-F5344CB8AC3E}">
        <p14:creationId xmlns:p14="http://schemas.microsoft.com/office/powerpoint/2010/main" val="67890455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89DA9-E648-7E3B-C51A-072497FD18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A6D50C-DAE4-BCF8-8B93-8F36A0E20ED3}"/>
              </a:ext>
            </a:extLst>
          </p:cNvPr>
          <p:cNvSpPr>
            <a:spLocks noGrp="1"/>
          </p:cNvSpPr>
          <p:nvPr>
            <p:ph type="title"/>
          </p:nvPr>
        </p:nvSpPr>
        <p:spPr/>
        <p:txBody>
          <a:bodyPr/>
          <a:lstStyle/>
          <a:p>
            <a:r>
              <a:rPr lang="en-US"/>
              <a:t>Finished Production Order Breakdown</a:t>
            </a:r>
            <a:endParaRPr lang="en-GB"/>
          </a:p>
        </p:txBody>
      </p:sp>
      <p:sp>
        <p:nvSpPr>
          <p:cNvPr id="3" name="Text Placeholder 2">
            <a:extLst>
              <a:ext uri="{FF2B5EF4-FFF2-40B4-BE49-F238E27FC236}">
                <a16:creationId xmlns:a16="http://schemas.microsoft.com/office/drawing/2014/main" id="{732B21D4-2A06-C131-F01F-0A5FFE1E5613}"/>
              </a:ext>
            </a:extLst>
          </p:cNvPr>
          <p:cNvSpPr>
            <a:spLocks noGrp="1"/>
          </p:cNvSpPr>
          <p:nvPr>
            <p:ph type="body" sz="quarter" idx="16"/>
          </p:nvPr>
        </p:nvSpPr>
        <p:spPr/>
        <p:txBody>
          <a:bodyPr/>
          <a:lstStyle/>
          <a:p>
            <a:r>
              <a:rPr lang="en-US">
                <a:gradFill>
                  <a:gsLst>
                    <a:gs pos="0">
                      <a:schemeClr val="tx2">
                        <a:lumMod val="50000"/>
                      </a:schemeClr>
                    </a:gs>
                    <a:gs pos="82000">
                      <a:schemeClr val="accent4"/>
                    </a:gs>
                    <a:gs pos="45000">
                      <a:schemeClr val="tx2"/>
                    </a:gs>
                  </a:gsLst>
                  <a:lin ang="13500000" scaled="1"/>
                </a:gradFill>
              </a:rPr>
              <a:t>25.1</a:t>
            </a:r>
            <a:endParaRPr lang="en-GB">
              <a:gradFill>
                <a:gsLst>
                  <a:gs pos="0">
                    <a:schemeClr val="tx2">
                      <a:lumMod val="50000"/>
                    </a:schemeClr>
                  </a:gs>
                  <a:gs pos="82000">
                    <a:schemeClr val="accent4"/>
                  </a:gs>
                  <a:gs pos="45000">
                    <a:schemeClr val="tx2"/>
                  </a:gs>
                </a:gsLst>
                <a:lin ang="13500000" scaled="1"/>
              </a:gradFill>
            </a:endParaRPr>
          </a:p>
        </p:txBody>
      </p:sp>
      <p:sp>
        <p:nvSpPr>
          <p:cNvPr id="5" name="Text Placeholder 4">
            <a:extLst>
              <a:ext uri="{FF2B5EF4-FFF2-40B4-BE49-F238E27FC236}">
                <a16:creationId xmlns:a16="http://schemas.microsoft.com/office/drawing/2014/main" id="{D7B709FE-5B8D-74EE-FEC7-0CAB8DD40DDB}"/>
              </a:ext>
            </a:extLst>
          </p:cNvPr>
          <p:cNvSpPr>
            <a:spLocks noGrp="1"/>
          </p:cNvSpPr>
          <p:nvPr>
            <p:ph type="body" sz="quarter" idx="17"/>
          </p:nvPr>
        </p:nvSpPr>
        <p:spPr/>
        <p:txBody>
          <a:bodyPr/>
          <a:lstStyle/>
          <a:p>
            <a:r>
              <a:rPr lang="en-US">
                <a:gradFill>
                  <a:gsLst>
                    <a:gs pos="0">
                      <a:schemeClr val="tx2">
                        <a:lumMod val="50000"/>
                      </a:schemeClr>
                    </a:gs>
                    <a:gs pos="82000">
                      <a:schemeClr val="accent4"/>
                    </a:gs>
                    <a:gs pos="45000">
                      <a:schemeClr val="tx2"/>
                    </a:gs>
                  </a:gsLst>
                  <a:lin ang="13500000" scaled="1"/>
                </a:gradFill>
              </a:rPr>
              <a:t>Now</a:t>
            </a:r>
            <a:endParaRPr lang="en-GB">
              <a:gradFill>
                <a:gsLst>
                  <a:gs pos="0">
                    <a:schemeClr val="tx2">
                      <a:lumMod val="50000"/>
                    </a:schemeClr>
                  </a:gs>
                  <a:gs pos="82000">
                    <a:schemeClr val="accent4"/>
                  </a:gs>
                  <a:gs pos="45000">
                    <a:schemeClr val="tx2"/>
                  </a:gs>
                </a:gsLst>
                <a:lin ang="13500000" scaled="1"/>
              </a:gradFill>
            </a:endParaRPr>
          </a:p>
        </p:txBody>
      </p:sp>
      <p:pic>
        <p:nvPicPr>
          <p:cNvPr id="7" name="Picture 2">
            <a:extLst>
              <a:ext uri="{FF2B5EF4-FFF2-40B4-BE49-F238E27FC236}">
                <a16:creationId xmlns:a16="http://schemas.microsoft.com/office/drawing/2014/main" id="{DB7BD27E-2640-E6C9-359D-5097A5ADE8FA}"/>
              </a:ext>
            </a:extLst>
          </p:cNvPr>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p:blipFill>
        <p:spPr bwMode="auto">
          <a:xfrm>
            <a:off x="588963" y="2708425"/>
            <a:ext cx="5214937" cy="2933401"/>
          </a:xfrm>
          <a:prstGeom prst="rect">
            <a:avLst/>
          </a:prstGeom>
          <a:solidFill>
            <a:srgbClr val="FFFFFF"/>
          </a:solidFill>
        </p:spPr>
      </p:pic>
      <p:pic>
        <p:nvPicPr>
          <p:cNvPr id="8" name="Content Placeholder 7">
            <a:extLst>
              <a:ext uri="{FF2B5EF4-FFF2-40B4-BE49-F238E27FC236}">
                <a16:creationId xmlns:a16="http://schemas.microsoft.com/office/drawing/2014/main" id="{C83FCE23-BBA2-0CC9-DF85-9B88E872487E}"/>
              </a:ext>
            </a:extLst>
          </p:cNvPr>
          <p:cNvPicPr>
            <a:picLocks noGrp="1" noChangeAspect="1"/>
          </p:cNvPicPr>
          <p:nvPr>
            <p:ph sz="quarter" idx="13"/>
          </p:nvPr>
        </p:nvPicPr>
        <p:blipFill>
          <a:blip r:embed="rId4">
            <a:extLst>
              <a:ext uri="{28A0092B-C50C-407E-A947-70E740481C1C}">
                <a14:useLocalDpi xmlns:a14="http://schemas.microsoft.com/office/drawing/2010/main" val="0"/>
              </a:ext>
            </a:extLst>
          </a:blip>
          <a:srcRect/>
          <a:stretch/>
        </p:blipFill>
        <p:spPr>
          <a:xfrm>
            <a:off x="6394450" y="2711197"/>
            <a:ext cx="5214938" cy="2927857"/>
          </a:xfrm>
          <a:prstGeom prst="rect">
            <a:avLst/>
          </a:prstGeom>
        </p:spPr>
      </p:pic>
    </p:spTree>
    <p:extLst>
      <p:ext uri="{BB962C8B-B14F-4D97-AF65-F5344CB8AC3E}">
        <p14:creationId xmlns:p14="http://schemas.microsoft.com/office/powerpoint/2010/main" val="404488515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9582E5-B545-5D6B-6858-5E97018F1AF7}"/>
              </a:ext>
            </a:extLst>
          </p:cNvPr>
          <p:cNvPicPr>
            <a:picLocks noChangeAspect="1"/>
          </p:cNvPicPr>
          <p:nvPr/>
        </p:nvPicPr>
        <p:blipFill>
          <a:blip r:embed="rId2"/>
          <a:stretch>
            <a:fillRect/>
          </a:stretch>
        </p:blipFill>
        <p:spPr>
          <a:xfrm>
            <a:off x="0" y="0"/>
            <a:ext cx="12192000" cy="6843002"/>
          </a:xfrm>
          <a:prstGeom prst="rect">
            <a:avLst/>
          </a:prstGeom>
        </p:spPr>
      </p:pic>
    </p:spTree>
    <p:extLst>
      <p:ext uri="{BB962C8B-B14F-4D97-AF65-F5344CB8AC3E}">
        <p14:creationId xmlns:p14="http://schemas.microsoft.com/office/powerpoint/2010/main" val="92667542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EC3AB-1640-0D7B-3575-F7317A2504B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9E508C2B-1D7F-1F4B-6E23-C1D6B69AFF1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316566" cy="6858000"/>
          </a:xfrm>
          <a:prstGeom prst="rect">
            <a:avLst/>
          </a:prstGeom>
        </p:spPr>
      </p:pic>
    </p:spTree>
    <p:extLst>
      <p:ext uri="{BB962C8B-B14F-4D97-AF65-F5344CB8AC3E}">
        <p14:creationId xmlns:p14="http://schemas.microsoft.com/office/powerpoint/2010/main" val="117153879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03D9F-B6FA-AB9E-6E21-7D344B8680E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859B601-46D5-00A5-C5A6-3FCC4813549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99396"/>
          </a:xfrm>
          <a:prstGeom prst="rect">
            <a:avLst/>
          </a:prstGeom>
        </p:spPr>
      </p:pic>
    </p:spTree>
    <p:extLst>
      <p:ext uri="{BB962C8B-B14F-4D97-AF65-F5344CB8AC3E}">
        <p14:creationId xmlns:p14="http://schemas.microsoft.com/office/powerpoint/2010/main" val="78137484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D7748-985F-CF02-0C67-56648CD25637}"/>
              </a:ext>
            </a:extLst>
          </p:cNvPr>
          <p:cNvSpPr>
            <a:spLocks noGrp="1"/>
          </p:cNvSpPr>
          <p:nvPr>
            <p:ph type="title"/>
          </p:nvPr>
        </p:nvSpPr>
        <p:spPr>
          <a:xfrm>
            <a:off x="588263" y="585788"/>
            <a:ext cx="4159950" cy="5683249"/>
          </a:xfrm>
        </p:spPr>
        <p:txBody>
          <a:bodyPr wrap="square" anchor="ctr">
            <a:normAutofit/>
          </a:bodyPr>
          <a:lstStyle/>
          <a:p>
            <a:r>
              <a:rPr lang="en-GB"/>
              <a:t>Legacy: Production Order Statistics</a:t>
            </a:r>
          </a:p>
        </p:txBody>
      </p:sp>
      <p:pic>
        <p:nvPicPr>
          <p:cNvPr id="16" name="Picture 15">
            <a:extLst>
              <a:ext uri="{FF2B5EF4-FFF2-40B4-BE49-F238E27FC236}">
                <a16:creationId xmlns:a16="http://schemas.microsoft.com/office/drawing/2014/main" id="{02F3383C-5264-B8D0-6A80-73D41FD3AEB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6437" y="0"/>
            <a:ext cx="5953125" cy="6858000"/>
          </a:xfrm>
          <a:prstGeom prst="rect">
            <a:avLst/>
          </a:prstGeom>
          <a:noFill/>
        </p:spPr>
      </p:pic>
    </p:spTree>
    <p:extLst>
      <p:ext uri="{BB962C8B-B14F-4D97-AF65-F5344CB8AC3E}">
        <p14:creationId xmlns:p14="http://schemas.microsoft.com/office/powerpoint/2010/main" val="89702061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5EB60-126C-4B82-CCF7-B63447644B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976B5B-66E7-A3D3-F39C-86A75C36C32D}"/>
              </a:ext>
            </a:extLst>
          </p:cNvPr>
          <p:cNvSpPr>
            <a:spLocks noGrp="1"/>
          </p:cNvSpPr>
          <p:nvPr>
            <p:ph type="title"/>
          </p:nvPr>
        </p:nvSpPr>
        <p:spPr>
          <a:xfrm>
            <a:off x="214381" y="0"/>
            <a:ext cx="11977619" cy="553998"/>
          </a:xfrm>
        </p:spPr>
        <p:txBody>
          <a:bodyPr/>
          <a:lstStyle/>
          <a:p>
            <a:r>
              <a:rPr lang="en-GB"/>
              <a:t>Modernized: Production Order Statistics</a:t>
            </a:r>
          </a:p>
        </p:txBody>
      </p:sp>
      <p:sp>
        <p:nvSpPr>
          <p:cNvPr id="10" name="Text Placeholder 9">
            <a:extLst>
              <a:ext uri="{FF2B5EF4-FFF2-40B4-BE49-F238E27FC236}">
                <a16:creationId xmlns:a16="http://schemas.microsoft.com/office/drawing/2014/main" id="{195BAB29-7A5A-2B59-D502-73606DDAE6D7}"/>
              </a:ext>
            </a:extLst>
          </p:cNvPr>
          <p:cNvSpPr>
            <a:spLocks noGrp="1"/>
          </p:cNvSpPr>
          <p:nvPr>
            <p:ph type="body" sz="quarter" idx="16"/>
          </p:nvPr>
        </p:nvSpPr>
        <p:spPr/>
        <p:txBody>
          <a:bodyPr/>
          <a:lstStyle/>
          <a:p>
            <a:r>
              <a:rPr lang="en-US"/>
              <a:t>Word layout</a:t>
            </a:r>
            <a:endParaRPr lang="en-GB"/>
          </a:p>
        </p:txBody>
      </p:sp>
      <p:sp>
        <p:nvSpPr>
          <p:cNvPr id="8" name="Content Placeholder 7">
            <a:extLst>
              <a:ext uri="{FF2B5EF4-FFF2-40B4-BE49-F238E27FC236}">
                <a16:creationId xmlns:a16="http://schemas.microsoft.com/office/drawing/2014/main" id="{6EEB3DF8-71F7-5F85-3496-76E8219DA680}"/>
              </a:ext>
            </a:extLst>
          </p:cNvPr>
          <p:cNvSpPr>
            <a:spLocks noGrp="1"/>
          </p:cNvSpPr>
          <p:nvPr>
            <p:ph sz="quarter" idx="11"/>
          </p:nvPr>
        </p:nvSpPr>
        <p:spPr/>
        <p:txBody>
          <a:bodyPr/>
          <a:lstStyle/>
          <a:p>
            <a:endParaRPr lang="en-GB"/>
          </a:p>
        </p:txBody>
      </p:sp>
      <p:sp>
        <p:nvSpPr>
          <p:cNvPr id="11" name="Text Placeholder 10">
            <a:extLst>
              <a:ext uri="{FF2B5EF4-FFF2-40B4-BE49-F238E27FC236}">
                <a16:creationId xmlns:a16="http://schemas.microsoft.com/office/drawing/2014/main" id="{F2D6AD3E-FC76-91C1-0A3A-A78BEE2F340D}"/>
              </a:ext>
            </a:extLst>
          </p:cNvPr>
          <p:cNvSpPr>
            <a:spLocks noGrp="1"/>
          </p:cNvSpPr>
          <p:nvPr>
            <p:ph type="body" sz="quarter" idx="17"/>
          </p:nvPr>
        </p:nvSpPr>
        <p:spPr>
          <a:xfrm>
            <a:off x="6397625" y="1436688"/>
            <a:ext cx="5219700" cy="430887"/>
          </a:xfrm>
        </p:spPr>
        <p:txBody>
          <a:bodyPr/>
          <a:lstStyle/>
          <a:p>
            <a:r>
              <a:rPr lang="en-US"/>
              <a:t>Excel layout</a:t>
            </a:r>
            <a:endParaRPr lang="en-GB"/>
          </a:p>
        </p:txBody>
      </p:sp>
      <p:pic>
        <p:nvPicPr>
          <p:cNvPr id="13" name="Content Placeholder 12">
            <a:extLst>
              <a:ext uri="{FF2B5EF4-FFF2-40B4-BE49-F238E27FC236}">
                <a16:creationId xmlns:a16="http://schemas.microsoft.com/office/drawing/2014/main" id="{0852B84D-53C0-A638-D310-C8B2FB25CFA0}"/>
              </a:ext>
            </a:extLst>
          </p:cNvPr>
          <p:cNvPicPr>
            <a:picLocks noGrp="1" noChangeAspect="1"/>
          </p:cNvPicPr>
          <p:nvPr>
            <p:ph sz="quarter" idx="13"/>
          </p:nvPr>
        </p:nvPicPr>
        <p:blipFill>
          <a:blip r:embed="rId3"/>
          <a:stretch>
            <a:fillRect/>
          </a:stretch>
        </p:blipFill>
        <p:spPr>
          <a:xfrm>
            <a:off x="6397624" y="2081211"/>
            <a:ext cx="5652973" cy="2969357"/>
          </a:xfrm>
        </p:spPr>
      </p:pic>
      <p:pic>
        <p:nvPicPr>
          <p:cNvPr id="7" name="Picture 6">
            <a:extLst>
              <a:ext uri="{FF2B5EF4-FFF2-40B4-BE49-F238E27FC236}">
                <a16:creationId xmlns:a16="http://schemas.microsoft.com/office/drawing/2014/main" id="{E1359704-8FB7-79A7-0B15-8580CB9E3DAE}"/>
              </a:ext>
            </a:extLst>
          </p:cNvPr>
          <p:cNvPicPr>
            <a:picLocks noChangeAspect="1"/>
          </p:cNvPicPr>
          <p:nvPr/>
        </p:nvPicPr>
        <p:blipFill>
          <a:blip r:embed="rId4"/>
          <a:stretch>
            <a:fillRect/>
          </a:stretch>
        </p:blipFill>
        <p:spPr>
          <a:xfrm>
            <a:off x="141402" y="2081211"/>
            <a:ext cx="5957774" cy="4187825"/>
          </a:xfrm>
          <a:prstGeom prst="rect">
            <a:avLst/>
          </a:prstGeom>
        </p:spPr>
      </p:pic>
      <p:sp>
        <p:nvSpPr>
          <p:cNvPr id="15" name="TextBox 14">
            <a:extLst>
              <a:ext uri="{FF2B5EF4-FFF2-40B4-BE49-F238E27FC236}">
                <a16:creationId xmlns:a16="http://schemas.microsoft.com/office/drawing/2014/main" id="{91AA8F62-47BC-FFEA-3134-4480F4CB23B1}"/>
              </a:ext>
            </a:extLst>
          </p:cNvPr>
          <p:cNvSpPr txBox="1"/>
          <p:nvPr/>
        </p:nvSpPr>
        <p:spPr>
          <a:xfrm>
            <a:off x="475284" y="866349"/>
            <a:ext cx="67635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eep report, deprecate RDL layout, add </a:t>
            </a:r>
            <a:r>
              <a:rPr kumimoji="0" lang="en-US" sz="2000" b="0" i="0" u="none" strike="noStrike" kern="1200" cap="none" spc="0" normalizeH="0" baseline="0" noProof="0">
                <a:ln>
                  <a:noFill/>
                </a:ln>
                <a:solidFill>
                  <a:srgbClr val="000000"/>
                </a:solidFill>
                <a:effectLst/>
                <a:highlight>
                  <a:srgbClr val="0078D4"/>
                </a:highlight>
                <a:uLnTx/>
                <a:uFillTx/>
                <a:latin typeface="Segoe UI"/>
                <a:ea typeface="+mn-ea"/>
                <a:cs typeface="+mn-cs"/>
              </a:rPr>
              <a:t>Word</a:t>
            </a:r>
            <a:r>
              <a:rPr kumimoji="0" lang="en-US" sz="1800" b="0" i="0" u="none" strike="noStrike" kern="1200" cap="none" spc="0" normalizeH="0" baseline="0" noProof="0">
                <a:ln>
                  <a:noFill/>
                </a:ln>
                <a:solidFill>
                  <a:srgbClr val="000000"/>
                </a:solidFill>
                <a:effectLst/>
                <a:uLnTx/>
                <a:uFillTx/>
                <a:latin typeface="Segoe UI"/>
                <a:ea typeface="+mn-ea"/>
                <a:cs typeface="+mn-cs"/>
              </a:rPr>
              <a:t> + </a:t>
            </a:r>
            <a:r>
              <a:rPr kumimoji="0" lang="en-US" sz="1800" b="0" i="0" u="none" strike="noStrike" kern="1200" cap="none" spc="0" normalizeH="0" baseline="0" noProof="0">
                <a:ln>
                  <a:noFill/>
                </a:ln>
                <a:solidFill>
                  <a:srgbClr val="000000"/>
                </a:solidFill>
                <a:effectLst/>
                <a:highlight>
                  <a:srgbClr val="008000"/>
                </a:highlight>
                <a:uLnTx/>
                <a:uFillTx/>
                <a:latin typeface="Segoe UI"/>
                <a:ea typeface="+mn-ea"/>
                <a:cs typeface="+mn-cs"/>
              </a:rPr>
              <a:t>Excel</a:t>
            </a:r>
            <a:r>
              <a:rPr kumimoji="0" lang="en-US" sz="1800" b="0" i="0" u="none" strike="noStrike" kern="1200" cap="none" spc="0" normalizeH="0" baseline="0" noProof="0">
                <a:ln>
                  <a:noFill/>
                </a:ln>
                <a:solidFill>
                  <a:srgbClr val="000000"/>
                </a:solidFill>
                <a:effectLst/>
                <a:uLnTx/>
                <a:uFillTx/>
                <a:latin typeface="Segoe UI"/>
                <a:ea typeface="+mn-ea"/>
                <a:cs typeface="+mn-cs"/>
              </a:rPr>
              <a:t> layouts</a:t>
            </a: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6137465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1CA5D-072E-4B4E-6AF7-ADF20E465C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A677BB-D262-AD0F-7320-23737FDFB2AE}"/>
              </a:ext>
            </a:extLst>
          </p:cNvPr>
          <p:cNvSpPr>
            <a:spLocks noGrp="1"/>
          </p:cNvSpPr>
          <p:nvPr>
            <p:ph type="title"/>
          </p:nvPr>
        </p:nvSpPr>
        <p:spPr>
          <a:xfrm>
            <a:off x="106998" y="113276"/>
            <a:ext cx="9544515" cy="486116"/>
          </a:xfrm>
        </p:spPr>
        <p:txBody>
          <a:bodyPr wrap="square" anchor="ctr">
            <a:normAutofit fontScale="90000"/>
          </a:bodyPr>
          <a:lstStyle/>
          <a:p>
            <a:r>
              <a:rPr lang="en-GB"/>
              <a:t>Legacy: Capacity Task List</a:t>
            </a:r>
          </a:p>
        </p:txBody>
      </p:sp>
      <p:pic>
        <p:nvPicPr>
          <p:cNvPr id="16" name="Picture 15">
            <a:extLst>
              <a:ext uri="{FF2B5EF4-FFF2-40B4-BE49-F238E27FC236}">
                <a16:creationId xmlns:a16="http://schemas.microsoft.com/office/drawing/2014/main" id="{4E6E3067-51A5-30B9-F826-0FB107F3C396}"/>
              </a:ext>
            </a:extLst>
          </p:cNvPr>
          <p:cNvPicPr>
            <a:picLocks noChangeAspect="1"/>
          </p:cNvPicPr>
          <p:nvPr/>
        </p:nvPicPr>
        <p:blipFill>
          <a:blip r:embed="rId3">
            <a:extLst>
              <a:ext uri="{28A0092B-C50C-407E-A947-70E740481C1C}">
                <a14:useLocalDpi xmlns:a14="http://schemas.microsoft.com/office/drawing/2010/main" val="0"/>
              </a:ext>
            </a:extLst>
          </a:blip>
          <a:srcRect t="2548" b="2548"/>
          <a:stretch/>
        </p:blipFill>
        <p:spPr>
          <a:xfrm>
            <a:off x="1037540" y="1531089"/>
            <a:ext cx="10456255" cy="5011675"/>
          </a:xfrm>
          <a:prstGeom prst="rect">
            <a:avLst/>
          </a:prstGeom>
          <a:noFill/>
        </p:spPr>
      </p:pic>
    </p:spTree>
    <p:extLst>
      <p:ext uri="{BB962C8B-B14F-4D97-AF65-F5344CB8AC3E}">
        <p14:creationId xmlns:p14="http://schemas.microsoft.com/office/powerpoint/2010/main" val="174081532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lue circle with white dots&#10;&#10;Description automatically generated">
            <a:extLst>
              <a:ext uri="{FF2B5EF4-FFF2-40B4-BE49-F238E27FC236}">
                <a16:creationId xmlns:a16="http://schemas.microsoft.com/office/drawing/2014/main" id="{C5BA7EA0-9697-4B06-75C3-D9326D911E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405705" y="4222765"/>
            <a:ext cx="1289248" cy="1146641"/>
          </a:xfrm>
          <a:prstGeom prst="rect">
            <a:avLst/>
          </a:prstGeom>
        </p:spPr>
      </p:pic>
      <p:pic>
        <p:nvPicPr>
          <p:cNvPr id="7" name="Picture 6" descr="A green square with white x on it&#10;&#10;Description automatically generated">
            <a:extLst>
              <a:ext uri="{FF2B5EF4-FFF2-40B4-BE49-F238E27FC236}">
                <a16:creationId xmlns:a16="http://schemas.microsoft.com/office/drawing/2014/main" id="{4C267E0C-EF06-6F0F-7BFE-77E47A76C5A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bwMode="auto">
          <a:xfrm>
            <a:off x="7536206" y="4373001"/>
            <a:ext cx="2009861" cy="133942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5ECCEEE3-2A72-779D-104D-41F1AFE3C0CE}"/>
              </a:ext>
            </a:extLst>
          </p:cNvPr>
          <p:cNvSpPr>
            <a:spLocks noGrp="1"/>
          </p:cNvSpPr>
          <p:nvPr>
            <p:ph type="title" idx="4294967295"/>
          </p:nvPr>
        </p:nvSpPr>
        <p:spPr>
          <a:xfrm>
            <a:off x="0" y="155575"/>
            <a:ext cx="11545888" cy="642938"/>
          </a:xfrm>
        </p:spPr>
        <p:txBody>
          <a:bodyPr>
            <a:normAutofit/>
          </a:bodyPr>
          <a:lstStyle/>
          <a:p>
            <a:r>
              <a:rPr lang="en-GB"/>
              <a:t>Typical </a:t>
            </a:r>
            <a:r>
              <a:rPr lang="en-GB" i="1"/>
              <a:t>analytics</a:t>
            </a:r>
            <a:r>
              <a:rPr lang="en-GB"/>
              <a:t> needs in organizations</a:t>
            </a:r>
            <a:endParaRPr lang="en-DK"/>
          </a:p>
        </p:txBody>
      </p:sp>
      <p:grpSp>
        <p:nvGrpSpPr>
          <p:cNvPr id="11" name="Group 10">
            <a:extLst>
              <a:ext uri="{FF2B5EF4-FFF2-40B4-BE49-F238E27FC236}">
                <a16:creationId xmlns:a16="http://schemas.microsoft.com/office/drawing/2014/main" id="{3DE1B08A-A3D6-F9FE-5E54-8638561964B3}"/>
              </a:ext>
            </a:extLst>
          </p:cNvPr>
          <p:cNvGrpSpPr/>
          <p:nvPr/>
        </p:nvGrpSpPr>
        <p:grpSpPr>
          <a:xfrm>
            <a:off x="67696" y="1468690"/>
            <a:ext cx="472578" cy="4629758"/>
            <a:chOff x="-276931" y="784363"/>
            <a:chExt cx="472645" cy="5678665"/>
          </a:xfrm>
        </p:grpSpPr>
        <p:cxnSp>
          <p:nvCxnSpPr>
            <p:cNvPr id="12" name="Straight Arrow Connector 11">
              <a:extLst>
                <a:ext uri="{FF2B5EF4-FFF2-40B4-BE49-F238E27FC236}">
                  <a16:creationId xmlns:a16="http://schemas.microsoft.com/office/drawing/2014/main" id="{FB710F8C-BFEA-4184-8C9D-C6C8A3731748}"/>
                </a:ext>
              </a:extLst>
            </p:cNvPr>
            <p:cNvCxnSpPr>
              <a:cxnSpLocks/>
            </p:cNvCxnSpPr>
            <p:nvPr/>
          </p:nvCxnSpPr>
          <p:spPr>
            <a:xfrm flipV="1">
              <a:off x="195714" y="1102098"/>
              <a:ext cx="0" cy="536093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34582F9-57F5-C0A3-981F-58185117753A}"/>
                </a:ext>
              </a:extLst>
            </p:cNvPr>
            <p:cNvSpPr txBox="1"/>
            <p:nvPr/>
          </p:nvSpPr>
          <p:spPr>
            <a:xfrm rot="16200000">
              <a:off x="-1331491" y="1838923"/>
              <a:ext cx="2483965" cy="374846"/>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Data aggregation</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 name="TextBox 13">
            <a:extLst>
              <a:ext uri="{FF2B5EF4-FFF2-40B4-BE49-F238E27FC236}">
                <a16:creationId xmlns:a16="http://schemas.microsoft.com/office/drawing/2014/main" id="{D34E4F1D-FA25-9D09-C910-72C92FD4AB56}"/>
              </a:ext>
            </a:extLst>
          </p:cNvPr>
          <p:cNvSpPr txBox="1"/>
          <p:nvPr/>
        </p:nvSpPr>
        <p:spPr>
          <a:xfrm>
            <a:off x="9389987" y="1145574"/>
            <a:ext cx="2763975" cy="657265"/>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prstClr val="black"/>
                </a:solidFill>
                <a:effectLst/>
                <a:uLnTx/>
                <a:uFillTx/>
                <a:latin typeface="Arial Black" panose="020B0A04020102020204" pitchFamily="34" charset="0"/>
                <a:ea typeface="+mn-ea"/>
                <a:cs typeface="+mn-cs"/>
              </a:rPr>
              <a:t>Typical</a:t>
            </a:r>
            <a:r>
              <a:rPr kumimoji="0" lang="en-US" sz="1800" b="1" i="0" u="none" strike="noStrike" kern="1200" cap="none" spc="0" normalizeH="0" baseline="0" noProof="0">
                <a:ln>
                  <a:noFill/>
                </a:ln>
                <a:solidFill>
                  <a:prstClr val="black"/>
                </a:solidFill>
                <a:effectLst/>
                <a:uLnTx/>
                <a:uFillTx/>
                <a:latin typeface="Arial Black" panose="020B0A04020102020204" pitchFamily="34" charset="0"/>
                <a:ea typeface="+mn-ea"/>
                <a:cs typeface="+mn-cs"/>
              </a:rPr>
              <a:t> ways to consume data</a:t>
            </a:r>
            <a:endParaRPr kumimoji="0" lang="en-DK" sz="1800" b="1" i="0" u="none" strike="noStrike" kern="1200" cap="none" spc="0" normalizeH="0" baseline="0" noProof="0">
              <a:ln>
                <a:noFill/>
              </a:ln>
              <a:solidFill>
                <a:prstClr val="black"/>
              </a:solidFill>
              <a:effectLst/>
              <a:uLnTx/>
              <a:uFillTx/>
              <a:latin typeface="Arial Black" panose="020B0A04020102020204" pitchFamily="34" charset="0"/>
              <a:ea typeface="+mn-ea"/>
              <a:cs typeface="+mn-cs"/>
            </a:endParaRPr>
          </a:p>
        </p:txBody>
      </p:sp>
      <p:grpSp>
        <p:nvGrpSpPr>
          <p:cNvPr id="2" name="Group 1">
            <a:extLst>
              <a:ext uri="{FF2B5EF4-FFF2-40B4-BE49-F238E27FC236}">
                <a16:creationId xmlns:a16="http://schemas.microsoft.com/office/drawing/2014/main" id="{5C095CEE-2727-68B8-C59F-D0CE36FC8251}"/>
              </a:ext>
            </a:extLst>
          </p:cNvPr>
          <p:cNvGrpSpPr/>
          <p:nvPr/>
        </p:nvGrpSpPr>
        <p:grpSpPr>
          <a:xfrm>
            <a:off x="8680705" y="1721122"/>
            <a:ext cx="440229" cy="4377326"/>
            <a:chOff x="-244578" y="1093985"/>
            <a:chExt cx="440292" cy="5369043"/>
          </a:xfrm>
        </p:grpSpPr>
        <p:cxnSp>
          <p:nvCxnSpPr>
            <p:cNvPr id="3" name="Straight Arrow Connector 2">
              <a:extLst>
                <a:ext uri="{FF2B5EF4-FFF2-40B4-BE49-F238E27FC236}">
                  <a16:creationId xmlns:a16="http://schemas.microsoft.com/office/drawing/2014/main" id="{C9F6E95B-1C14-7483-6F9C-1B5EAC2E1E75}"/>
                </a:ext>
              </a:extLst>
            </p:cNvPr>
            <p:cNvCxnSpPr>
              <a:cxnSpLocks/>
            </p:cNvCxnSpPr>
            <p:nvPr/>
          </p:nvCxnSpPr>
          <p:spPr>
            <a:xfrm flipV="1">
              <a:off x="195714" y="1102098"/>
              <a:ext cx="0" cy="536093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99F255B-2E5D-1FEB-97E0-13107868FE94}"/>
                </a:ext>
              </a:extLst>
            </p:cNvPr>
            <p:cNvSpPr txBox="1"/>
            <p:nvPr/>
          </p:nvSpPr>
          <p:spPr>
            <a:xfrm rot="16200000">
              <a:off x="-2666618" y="3516025"/>
              <a:ext cx="5218926" cy="374846"/>
            </a:xfrm>
            <a:prstGeom prst="rect">
              <a:avLst/>
            </a:prstGeom>
            <a:noFill/>
          </p:spPr>
          <p:txBody>
            <a:bodyPr wrap="square">
              <a:sp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Organizarional</a:t>
              </a: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a:t>
              </a:r>
              <a:r>
                <a:rPr kumimoji="0" lang="en-US" sz="1800" b="1" i="0" u="none" strike="noStrike" kern="1200" cap="none" spc="0" normalizeH="0" baseline="0" noProof="0" err="1">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hierachy</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0" name="Group 39">
            <a:extLst>
              <a:ext uri="{FF2B5EF4-FFF2-40B4-BE49-F238E27FC236}">
                <a16:creationId xmlns:a16="http://schemas.microsoft.com/office/drawing/2014/main" id="{DFB91D83-161E-2246-3823-0568C94E87C7}"/>
              </a:ext>
            </a:extLst>
          </p:cNvPr>
          <p:cNvGrpSpPr/>
          <p:nvPr/>
        </p:nvGrpSpPr>
        <p:grpSpPr>
          <a:xfrm>
            <a:off x="1107229" y="2279925"/>
            <a:ext cx="7418112" cy="3784063"/>
            <a:chOff x="1106520" y="2279761"/>
            <a:chExt cx="7419165" cy="3784599"/>
          </a:xfrm>
        </p:grpSpPr>
        <p:sp>
          <p:nvSpPr>
            <p:cNvPr id="21" name="TextBox 20">
              <a:extLst>
                <a:ext uri="{FF2B5EF4-FFF2-40B4-BE49-F238E27FC236}">
                  <a16:creationId xmlns:a16="http://schemas.microsoft.com/office/drawing/2014/main" id="{AA0D1BCC-DE22-AE20-6989-6EDA09ED849D}"/>
                </a:ext>
              </a:extLst>
            </p:cNvPr>
            <p:cNvSpPr txBox="1"/>
            <p:nvPr/>
          </p:nvSpPr>
          <p:spPr>
            <a:xfrm>
              <a:off x="7357730" y="5163896"/>
              <a:ext cx="1167955" cy="3078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Staff</a:t>
              </a:r>
            </a:p>
          </p:txBody>
        </p:sp>
        <p:sp>
          <p:nvSpPr>
            <p:cNvPr id="22" name="TextBox 21">
              <a:extLst>
                <a:ext uri="{FF2B5EF4-FFF2-40B4-BE49-F238E27FC236}">
                  <a16:creationId xmlns:a16="http://schemas.microsoft.com/office/drawing/2014/main" id="{56A813E7-51BD-80E3-F5E1-60F7D463644F}"/>
                </a:ext>
              </a:extLst>
            </p:cNvPr>
            <p:cNvSpPr txBox="1"/>
            <p:nvPr/>
          </p:nvSpPr>
          <p:spPr>
            <a:xfrm>
              <a:off x="6663726" y="3921734"/>
              <a:ext cx="1808796" cy="3078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Management</a:t>
              </a:r>
            </a:p>
          </p:txBody>
        </p:sp>
        <p:grpSp>
          <p:nvGrpSpPr>
            <p:cNvPr id="20" name="Group 19">
              <a:extLst>
                <a:ext uri="{FF2B5EF4-FFF2-40B4-BE49-F238E27FC236}">
                  <a16:creationId xmlns:a16="http://schemas.microsoft.com/office/drawing/2014/main" id="{5BD1079F-D895-5308-71CE-A3842076D451}"/>
                </a:ext>
              </a:extLst>
            </p:cNvPr>
            <p:cNvGrpSpPr/>
            <p:nvPr/>
          </p:nvGrpSpPr>
          <p:grpSpPr>
            <a:xfrm>
              <a:off x="2124438" y="2279761"/>
              <a:ext cx="5411972" cy="3784599"/>
              <a:chOff x="2124438" y="2279761"/>
              <a:chExt cx="5411972" cy="3784599"/>
            </a:xfrm>
            <a:noFill/>
          </p:grpSpPr>
          <p:sp>
            <p:nvSpPr>
              <p:cNvPr id="15" name="Trapezoid 14">
                <a:extLst>
                  <a:ext uri="{FF2B5EF4-FFF2-40B4-BE49-F238E27FC236}">
                    <a16:creationId xmlns:a16="http://schemas.microsoft.com/office/drawing/2014/main" id="{E1BF908A-4CDA-8F16-BF00-28CD10F92302}"/>
                  </a:ext>
                </a:extLst>
              </p:cNvPr>
              <p:cNvSpPr/>
              <p:nvPr/>
            </p:nvSpPr>
            <p:spPr bwMode="auto">
              <a:xfrm>
                <a:off x="2124438" y="4915121"/>
                <a:ext cx="5411972" cy="1149239"/>
              </a:xfrm>
              <a:prstGeom prst="trapezoid">
                <a:avLst>
                  <a:gd name="adj" fmla="val 60157"/>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Trapezoid 15">
                <a:extLst>
                  <a:ext uri="{FF2B5EF4-FFF2-40B4-BE49-F238E27FC236}">
                    <a16:creationId xmlns:a16="http://schemas.microsoft.com/office/drawing/2014/main" id="{53169B32-8B62-0DBA-DA9A-F3D1143A579F}"/>
                  </a:ext>
                </a:extLst>
              </p:cNvPr>
              <p:cNvSpPr/>
              <p:nvPr/>
            </p:nvSpPr>
            <p:spPr bwMode="auto">
              <a:xfrm>
                <a:off x="2915316" y="3597820"/>
                <a:ext cx="3857624" cy="1149239"/>
              </a:xfrm>
              <a:prstGeom prst="trapezoid">
                <a:avLst>
                  <a:gd name="adj" fmla="val 56456"/>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rapezoid 18">
                <a:extLst>
                  <a:ext uri="{FF2B5EF4-FFF2-40B4-BE49-F238E27FC236}">
                    <a16:creationId xmlns:a16="http://schemas.microsoft.com/office/drawing/2014/main" id="{26486CFE-05E2-66A2-6A08-3DF11A385CD1}"/>
                  </a:ext>
                </a:extLst>
              </p:cNvPr>
              <p:cNvSpPr/>
              <p:nvPr/>
            </p:nvSpPr>
            <p:spPr bwMode="auto">
              <a:xfrm>
                <a:off x="3560343" y="2279761"/>
                <a:ext cx="2535657" cy="1149239"/>
              </a:xfrm>
              <a:prstGeom prst="trapezoid">
                <a:avLst>
                  <a:gd name="adj" fmla="val 53682"/>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2E684371-28BF-7FBD-08D8-92A676BD8F57}"/>
                </a:ext>
              </a:extLst>
            </p:cNvPr>
            <p:cNvSpPr txBox="1"/>
            <p:nvPr/>
          </p:nvSpPr>
          <p:spPr>
            <a:xfrm>
              <a:off x="5936533" y="2688708"/>
              <a:ext cx="1808796" cy="3078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Leadership</a:t>
              </a:r>
            </a:p>
          </p:txBody>
        </p:sp>
        <p:sp>
          <p:nvSpPr>
            <p:cNvPr id="24" name="TextBox 23">
              <a:extLst>
                <a:ext uri="{FF2B5EF4-FFF2-40B4-BE49-F238E27FC236}">
                  <a16:creationId xmlns:a16="http://schemas.microsoft.com/office/drawing/2014/main" id="{2AE586D6-C66E-F569-1A01-B34ECA1ABE5D}"/>
                </a:ext>
              </a:extLst>
            </p:cNvPr>
            <p:cNvSpPr txBox="1"/>
            <p:nvPr/>
          </p:nvSpPr>
          <p:spPr>
            <a:xfrm>
              <a:off x="2358634" y="2684622"/>
              <a:ext cx="1808796" cy="615640"/>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Performance data</a:t>
              </a:r>
            </a:p>
          </p:txBody>
        </p:sp>
        <p:sp>
          <p:nvSpPr>
            <p:cNvPr id="25" name="TextBox 24">
              <a:extLst>
                <a:ext uri="{FF2B5EF4-FFF2-40B4-BE49-F238E27FC236}">
                  <a16:creationId xmlns:a16="http://schemas.microsoft.com/office/drawing/2014/main" id="{C719DD6E-1D9D-A43F-4F31-75A3928AAB0F}"/>
                </a:ext>
              </a:extLst>
            </p:cNvPr>
            <p:cNvSpPr txBox="1"/>
            <p:nvPr/>
          </p:nvSpPr>
          <p:spPr>
            <a:xfrm>
              <a:off x="1751547" y="3726645"/>
              <a:ext cx="1808796" cy="615640"/>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Trends, summaries</a:t>
              </a:r>
            </a:p>
          </p:txBody>
        </p:sp>
        <p:sp>
          <p:nvSpPr>
            <p:cNvPr id="26" name="TextBox 25">
              <a:extLst>
                <a:ext uri="{FF2B5EF4-FFF2-40B4-BE49-F238E27FC236}">
                  <a16:creationId xmlns:a16="http://schemas.microsoft.com/office/drawing/2014/main" id="{CA37A257-5E29-1814-466D-CF540470B0C4}"/>
                </a:ext>
              </a:extLst>
            </p:cNvPr>
            <p:cNvSpPr txBox="1"/>
            <p:nvPr/>
          </p:nvSpPr>
          <p:spPr>
            <a:xfrm>
              <a:off x="1106520" y="4964294"/>
              <a:ext cx="1808796" cy="615640"/>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Detailed </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data</a:t>
              </a:r>
            </a:p>
          </p:txBody>
        </p:sp>
        <p:pic>
          <p:nvPicPr>
            <p:cNvPr id="28" name="Graphic 27" descr="Electrician female with solid fill">
              <a:extLst>
                <a:ext uri="{FF2B5EF4-FFF2-40B4-BE49-F238E27FC236}">
                  <a16:creationId xmlns:a16="http://schemas.microsoft.com/office/drawing/2014/main" id="{09B23851-D617-5D3C-DA88-0C7B1D2658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62623" y="5105391"/>
              <a:ext cx="800817" cy="800817"/>
            </a:xfrm>
            <a:prstGeom prst="rect">
              <a:avLst/>
            </a:prstGeom>
          </p:spPr>
        </p:pic>
        <p:pic>
          <p:nvPicPr>
            <p:cNvPr id="18" name="Graphic 17" descr="Board Of Directors with solid fill">
              <a:extLst>
                <a:ext uri="{FF2B5EF4-FFF2-40B4-BE49-F238E27FC236}">
                  <a16:creationId xmlns:a16="http://schemas.microsoft.com/office/drawing/2014/main" id="{FDACD1C1-90DA-7D1D-B012-6A3108F514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88980" y="2503405"/>
              <a:ext cx="678382" cy="678382"/>
            </a:xfrm>
            <a:prstGeom prst="rect">
              <a:avLst/>
            </a:prstGeom>
          </p:spPr>
        </p:pic>
        <p:pic>
          <p:nvPicPr>
            <p:cNvPr id="29" name="Graphic 28" descr="Desk with solid fill">
              <a:extLst>
                <a:ext uri="{FF2B5EF4-FFF2-40B4-BE49-F238E27FC236}">
                  <a16:creationId xmlns:a16="http://schemas.microsoft.com/office/drawing/2014/main" id="{F4E37B16-74B8-7452-9DDA-558F3C371B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0938" y="3833860"/>
              <a:ext cx="719195" cy="719195"/>
            </a:xfrm>
            <a:prstGeom prst="rect">
              <a:avLst/>
            </a:prstGeom>
          </p:spPr>
        </p:pic>
        <p:pic>
          <p:nvPicPr>
            <p:cNvPr id="31" name="Graphic 30" descr="Group with solid fill">
              <a:extLst>
                <a:ext uri="{FF2B5EF4-FFF2-40B4-BE49-F238E27FC236}">
                  <a16:creationId xmlns:a16="http://schemas.microsoft.com/office/drawing/2014/main" id="{8694F882-475A-BB84-6F3F-6A4A7EA032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79527" y="5020811"/>
              <a:ext cx="890811" cy="890811"/>
            </a:xfrm>
            <a:prstGeom prst="rect">
              <a:avLst/>
            </a:prstGeom>
          </p:spPr>
        </p:pic>
        <p:pic>
          <p:nvPicPr>
            <p:cNvPr id="33" name="Graphic 32" descr="Boardroom with solid fill">
              <a:extLst>
                <a:ext uri="{FF2B5EF4-FFF2-40B4-BE49-F238E27FC236}">
                  <a16:creationId xmlns:a16="http://schemas.microsoft.com/office/drawing/2014/main" id="{07076934-7964-C262-E0F1-8F83EBD8328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45355" y="3833859"/>
              <a:ext cx="719195" cy="719195"/>
            </a:xfrm>
            <a:prstGeom prst="rect">
              <a:avLst/>
            </a:prstGeom>
          </p:spPr>
        </p:pic>
        <p:pic>
          <p:nvPicPr>
            <p:cNvPr id="35" name="Graphic 34" descr="Group brainstorm with solid fill">
              <a:extLst>
                <a:ext uri="{FF2B5EF4-FFF2-40B4-BE49-F238E27FC236}">
                  <a16:creationId xmlns:a16="http://schemas.microsoft.com/office/drawing/2014/main" id="{7F45CDAD-6B3F-4EC7-7C0B-78101DF8A5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42073" y="5128913"/>
              <a:ext cx="721653" cy="721653"/>
            </a:xfrm>
            <a:prstGeom prst="rect">
              <a:avLst/>
            </a:prstGeom>
          </p:spPr>
        </p:pic>
      </p:grpSp>
      <p:sp>
        <p:nvSpPr>
          <p:cNvPr id="36" name="TextBox 35">
            <a:extLst>
              <a:ext uri="{FF2B5EF4-FFF2-40B4-BE49-F238E27FC236}">
                <a16:creationId xmlns:a16="http://schemas.microsoft.com/office/drawing/2014/main" id="{1A91D2C7-447B-28E1-3000-7A69EA4BF555}"/>
              </a:ext>
            </a:extLst>
          </p:cNvPr>
          <p:cNvSpPr txBox="1"/>
          <p:nvPr/>
        </p:nvSpPr>
        <p:spPr>
          <a:xfrm>
            <a:off x="9250928" y="5157036"/>
            <a:ext cx="2813641" cy="845624"/>
          </a:xfrm>
          <a:prstGeom prst="rect">
            <a:avLst/>
          </a:prstGeom>
          <a:solidFill>
            <a:schemeClr val="bg1">
              <a:alpha val="87000"/>
            </a:schemeClr>
          </a:solid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Operational report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On-screen task data</a:t>
            </a:r>
          </a:p>
        </p:txBody>
      </p:sp>
      <p:sp>
        <p:nvSpPr>
          <p:cNvPr id="37" name="TextBox 36">
            <a:extLst>
              <a:ext uri="{FF2B5EF4-FFF2-40B4-BE49-F238E27FC236}">
                <a16:creationId xmlns:a16="http://schemas.microsoft.com/office/drawing/2014/main" id="{6A204B1B-87A6-76DB-285C-D219163CE586}"/>
              </a:ext>
            </a:extLst>
          </p:cNvPr>
          <p:cNvSpPr txBox="1"/>
          <p:nvPr/>
        </p:nvSpPr>
        <p:spPr>
          <a:xfrm>
            <a:off x="9229196" y="3892015"/>
            <a:ext cx="2775931" cy="845624"/>
          </a:xfrm>
          <a:prstGeom prst="rect">
            <a:avLst/>
          </a:prstGeom>
          <a:solidFill>
            <a:schemeClr val="bg1">
              <a:alpha val="87000"/>
            </a:schemeClr>
          </a:solidFill>
        </p:spPr>
        <p:txBody>
          <a:bodyPr wrap="square" lIns="91427" tIns="45713" rIns="91427" bIns="45713"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a:ea typeface="+mn-ea"/>
                <a:cs typeface="Arial"/>
              </a:rPr>
              <a:t>Managerial report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a:ea typeface="+mn-ea"/>
                <a:cs typeface="Arial"/>
              </a:rPr>
              <a:t>Ad-hoc analysis</a:t>
            </a:r>
          </a:p>
        </p:txBody>
      </p:sp>
      <p:sp>
        <p:nvSpPr>
          <p:cNvPr id="38" name="TextBox 37">
            <a:extLst>
              <a:ext uri="{FF2B5EF4-FFF2-40B4-BE49-F238E27FC236}">
                <a16:creationId xmlns:a16="http://schemas.microsoft.com/office/drawing/2014/main" id="{D0FD0E4D-894D-D18E-9272-D62F57E7B563}"/>
              </a:ext>
            </a:extLst>
          </p:cNvPr>
          <p:cNvSpPr txBox="1"/>
          <p:nvPr/>
        </p:nvSpPr>
        <p:spPr>
          <a:xfrm>
            <a:off x="9250929" y="2153263"/>
            <a:ext cx="2754199" cy="1222278"/>
          </a:xfrm>
          <a:prstGeom prst="rect">
            <a:avLst/>
          </a:prstGeom>
          <a:solidFill>
            <a:schemeClr val="bg1">
              <a:alpha val="87000"/>
            </a:schemeClr>
          </a:solidFill>
        </p:spPr>
        <p:txBody>
          <a:bodyPr wrap="square">
            <a:spAutoFit/>
          </a:bodyPr>
          <a:lstStyle>
            <a:defPPr>
              <a:defRPr lang="en-DK"/>
            </a:defPPr>
            <a:lvl1pPr marR="0" lvl="0" indent="0" fontAlgn="auto">
              <a:lnSpc>
                <a:spcPct val="100000"/>
              </a:lnSpc>
              <a:spcBef>
                <a:spcPts val="0"/>
              </a:spcBef>
              <a:spcAft>
                <a:spcPts val="0"/>
              </a:spcAft>
              <a:buClrTx/>
              <a:buSzTx/>
              <a:buFontTx/>
              <a:buNone/>
              <a:tabLst/>
              <a:defRPr sz="2800" b="1">
                <a:solidFill>
                  <a:schemeClr val="accent5">
                    <a:lumMod val="75000"/>
                  </a:schemeClr>
                </a:solidFill>
                <a:latin typeface="Calibri" panose="020F0502020204030204" pitchFamily="34" charset="0"/>
                <a:cs typeface="Arial" panose="020B0604020202020204" pitchFamily="34" charset="0"/>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KPI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Dashboard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Financial reports</a:t>
            </a:r>
          </a:p>
        </p:txBody>
      </p:sp>
      <p:pic>
        <p:nvPicPr>
          <p:cNvPr id="8" name="Graphic 48">
            <a:extLst>
              <a:ext uri="{FF2B5EF4-FFF2-40B4-BE49-F238E27FC236}">
                <a16:creationId xmlns:a16="http://schemas.microsoft.com/office/drawing/2014/main" id="{BAF8142F-60D1-A18B-72AA-AEACF72D7208}"/>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2453" r="-2453"/>
          <a:stretch/>
        </p:blipFill>
        <p:spPr>
          <a:xfrm>
            <a:off x="7272718" y="2725648"/>
            <a:ext cx="1289248" cy="1228307"/>
          </a:xfrm>
          <a:prstGeom prst="rect">
            <a:avLst/>
          </a:prstGeom>
        </p:spPr>
      </p:pic>
    </p:spTree>
    <p:extLst>
      <p:ext uri="{BB962C8B-B14F-4D97-AF65-F5344CB8AC3E}">
        <p14:creationId xmlns:p14="http://schemas.microsoft.com/office/powerpoint/2010/main" val="369546383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C7984-9262-4340-AE7F-E9964D1EE9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89C570-7B47-A050-F29E-D41FE87ED879}"/>
              </a:ext>
            </a:extLst>
          </p:cNvPr>
          <p:cNvSpPr>
            <a:spLocks noGrp="1"/>
          </p:cNvSpPr>
          <p:nvPr>
            <p:ph type="title"/>
          </p:nvPr>
        </p:nvSpPr>
        <p:spPr>
          <a:xfrm>
            <a:off x="475284" y="0"/>
            <a:ext cx="11018520" cy="553998"/>
          </a:xfrm>
        </p:spPr>
        <p:txBody>
          <a:bodyPr/>
          <a:lstStyle/>
          <a:p>
            <a:r>
              <a:rPr lang="en-GB"/>
              <a:t>Modernized: Capacity Task List</a:t>
            </a:r>
          </a:p>
        </p:txBody>
      </p:sp>
      <p:sp>
        <p:nvSpPr>
          <p:cNvPr id="10" name="Text Placeholder 9">
            <a:extLst>
              <a:ext uri="{FF2B5EF4-FFF2-40B4-BE49-F238E27FC236}">
                <a16:creationId xmlns:a16="http://schemas.microsoft.com/office/drawing/2014/main" id="{D772D23C-A02E-D5B9-370B-7EA7ED3065F8}"/>
              </a:ext>
            </a:extLst>
          </p:cNvPr>
          <p:cNvSpPr>
            <a:spLocks noGrp="1"/>
          </p:cNvSpPr>
          <p:nvPr>
            <p:ph type="body" sz="quarter" idx="16"/>
          </p:nvPr>
        </p:nvSpPr>
        <p:spPr/>
        <p:txBody>
          <a:bodyPr/>
          <a:lstStyle/>
          <a:p>
            <a:r>
              <a:rPr lang="en-US"/>
              <a:t>Word layout</a:t>
            </a:r>
            <a:endParaRPr lang="en-GB"/>
          </a:p>
        </p:txBody>
      </p:sp>
      <p:sp>
        <p:nvSpPr>
          <p:cNvPr id="8" name="Content Placeholder 7">
            <a:extLst>
              <a:ext uri="{FF2B5EF4-FFF2-40B4-BE49-F238E27FC236}">
                <a16:creationId xmlns:a16="http://schemas.microsoft.com/office/drawing/2014/main" id="{C66DCF76-F510-56F4-93F5-5BBD17C814BB}"/>
              </a:ext>
            </a:extLst>
          </p:cNvPr>
          <p:cNvSpPr>
            <a:spLocks noGrp="1"/>
          </p:cNvSpPr>
          <p:nvPr>
            <p:ph sz="quarter" idx="11"/>
          </p:nvPr>
        </p:nvSpPr>
        <p:spPr/>
        <p:txBody>
          <a:bodyPr/>
          <a:lstStyle/>
          <a:p>
            <a:endParaRPr lang="en-GB"/>
          </a:p>
        </p:txBody>
      </p:sp>
      <p:sp>
        <p:nvSpPr>
          <p:cNvPr id="11" name="Text Placeholder 10">
            <a:extLst>
              <a:ext uri="{FF2B5EF4-FFF2-40B4-BE49-F238E27FC236}">
                <a16:creationId xmlns:a16="http://schemas.microsoft.com/office/drawing/2014/main" id="{D8F1C631-BB6E-2FCF-8F2E-1EFD695F174D}"/>
              </a:ext>
            </a:extLst>
          </p:cNvPr>
          <p:cNvSpPr>
            <a:spLocks noGrp="1"/>
          </p:cNvSpPr>
          <p:nvPr>
            <p:ph type="body" sz="quarter" idx="17"/>
          </p:nvPr>
        </p:nvSpPr>
        <p:spPr>
          <a:xfrm>
            <a:off x="6397625" y="1436688"/>
            <a:ext cx="5219700" cy="430887"/>
          </a:xfrm>
        </p:spPr>
        <p:txBody>
          <a:bodyPr/>
          <a:lstStyle/>
          <a:p>
            <a:r>
              <a:rPr lang="en-US"/>
              <a:t>Excel layout</a:t>
            </a:r>
            <a:endParaRPr lang="en-GB"/>
          </a:p>
        </p:txBody>
      </p:sp>
      <p:pic>
        <p:nvPicPr>
          <p:cNvPr id="13" name="Content Placeholder 12">
            <a:extLst>
              <a:ext uri="{FF2B5EF4-FFF2-40B4-BE49-F238E27FC236}">
                <a16:creationId xmlns:a16="http://schemas.microsoft.com/office/drawing/2014/main" id="{41020337-2584-2BA5-5AE7-C23884BB9075}"/>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rcRect/>
          <a:stretch/>
        </p:blipFill>
        <p:spPr>
          <a:xfrm>
            <a:off x="6397624" y="2081211"/>
            <a:ext cx="5652973" cy="2969357"/>
          </a:xfrm>
        </p:spPr>
      </p:pic>
      <p:pic>
        <p:nvPicPr>
          <p:cNvPr id="7" name="Picture 6">
            <a:extLst>
              <a:ext uri="{FF2B5EF4-FFF2-40B4-BE49-F238E27FC236}">
                <a16:creationId xmlns:a16="http://schemas.microsoft.com/office/drawing/2014/main" id="{B6B4D33E-D3B1-4AC7-C9D9-7124FF25A00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72398" y="2037804"/>
            <a:ext cx="5231501" cy="3699880"/>
          </a:xfrm>
          <a:prstGeom prst="rect">
            <a:avLst/>
          </a:prstGeom>
        </p:spPr>
      </p:pic>
      <p:sp>
        <p:nvSpPr>
          <p:cNvPr id="15" name="TextBox 14">
            <a:extLst>
              <a:ext uri="{FF2B5EF4-FFF2-40B4-BE49-F238E27FC236}">
                <a16:creationId xmlns:a16="http://schemas.microsoft.com/office/drawing/2014/main" id="{602DB56E-D5D2-FF66-4A36-C5663BCAF1AD}"/>
              </a:ext>
            </a:extLst>
          </p:cNvPr>
          <p:cNvSpPr txBox="1"/>
          <p:nvPr/>
        </p:nvSpPr>
        <p:spPr>
          <a:xfrm>
            <a:off x="475284" y="866349"/>
            <a:ext cx="67635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eep report, deprecate RDL layout, add </a:t>
            </a:r>
            <a:r>
              <a:rPr kumimoji="0" lang="en-US" sz="2000" b="0" i="0" u="none" strike="noStrike" kern="1200" cap="none" spc="0" normalizeH="0" baseline="0" noProof="0">
                <a:ln>
                  <a:noFill/>
                </a:ln>
                <a:solidFill>
                  <a:srgbClr val="000000"/>
                </a:solidFill>
                <a:effectLst/>
                <a:highlight>
                  <a:srgbClr val="0078D4"/>
                </a:highlight>
                <a:uLnTx/>
                <a:uFillTx/>
                <a:latin typeface="Segoe UI"/>
                <a:ea typeface="+mn-ea"/>
                <a:cs typeface="+mn-cs"/>
              </a:rPr>
              <a:t>Word</a:t>
            </a:r>
            <a:r>
              <a:rPr kumimoji="0" lang="en-US" sz="1800" b="0" i="0" u="none" strike="noStrike" kern="1200" cap="none" spc="0" normalizeH="0" baseline="0" noProof="0">
                <a:ln>
                  <a:noFill/>
                </a:ln>
                <a:solidFill>
                  <a:srgbClr val="000000"/>
                </a:solidFill>
                <a:effectLst/>
                <a:uLnTx/>
                <a:uFillTx/>
                <a:latin typeface="Segoe UI"/>
                <a:ea typeface="+mn-ea"/>
                <a:cs typeface="+mn-cs"/>
              </a:rPr>
              <a:t> + </a:t>
            </a:r>
            <a:r>
              <a:rPr kumimoji="0" lang="en-US" sz="1800" b="0" i="0" u="none" strike="noStrike" kern="1200" cap="none" spc="0" normalizeH="0" baseline="0" noProof="0">
                <a:ln>
                  <a:noFill/>
                </a:ln>
                <a:solidFill>
                  <a:srgbClr val="000000"/>
                </a:solidFill>
                <a:effectLst/>
                <a:highlight>
                  <a:srgbClr val="008000"/>
                </a:highlight>
                <a:uLnTx/>
                <a:uFillTx/>
                <a:latin typeface="Segoe UI"/>
                <a:ea typeface="+mn-ea"/>
                <a:cs typeface="+mn-cs"/>
              </a:rPr>
              <a:t>Excel</a:t>
            </a:r>
            <a:r>
              <a:rPr kumimoji="0" lang="en-US" sz="1800" b="0" i="0" u="none" strike="noStrike" kern="1200" cap="none" spc="0" normalizeH="0" baseline="0" noProof="0">
                <a:ln>
                  <a:noFill/>
                </a:ln>
                <a:solidFill>
                  <a:srgbClr val="000000"/>
                </a:solidFill>
                <a:effectLst/>
                <a:uLnTx/>
                <a:uFillTx/>
                <a:latin typeface="Segoe UI"/>
                <a:ea typeface="+mn-ea"/>
                <a:cs typeface="+mn-cs"/>
              </a:rPr>
              <a:t> layouts</a:t>
            </a: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002580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FB630-8150-47F5-D625-5CC6448AF4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10A7A6-5B01-5A77-D82A-48F9D14A6B23}"/>
              </a:ext>
            </a:extLst>
          </p:cNvPr>
          <p:cNvSpPr>
            <a:spLocks noGrp="1"/>
          </p:cNvSpPr>
          <p:nvPr>
            <p:ph type="title"/>
          </p:nvPr>
        </p:nvSpPr>
        <p:spPr>
          <a:xfrm>
            <a:off x="106998" y="113276"/>
            <a:ext cx="11364566" cy="486116"/>
          </a:xfrm>
        </p:spPr>
        <p:txBody>
          <a:bodyPr wrap="square" anchor="ctr">
            <a:normAutofit fontScale="90000"/>
          </a:bodyPr>
          <a:lstStyle/>
          <a:p>
            <a:r>
              <a:rPr lang="en-GB"/>
              <a:t>Legacy: </a:t>
            </a:r>
            <a:r>
              <a:rPr lang="en-GB" sz="3600"/>
              <a:t>Subcontractor - Dispatch List</a:t>
            </a:r>
            <a:endParaRPr lang="en-GB"/>
          </a:p>
        </p:txBody>
      </p:sp>
      <p:pic>
        <p:nvPicPr>
          <p:cNvPr id="16" name="Picture 15">
            <a:extLst>
              <a:ext uri="{FF2B5EF4-FFF2-40B4-BE49-F238E27FC236}">
                <a16:creationId xmlns:a16="http://schemas.microsoft.com/office/drawing/2014/main" id="{2E205274-C2B1-9867-15B8-87BB4F2C0CB2}"/>
              </a:ext>
            </a:extLst>
          </p:cNvPr>
          <p:cNvPicPr>
            <a:picLocks noChangeAspect="1"/>
          </p:cNvPicPr>
          <p:nvPr/>
        </p:nvPicPr>
        <p:blipFill>
          <a:blip r:embed="rId3">
            <a:extLst>
              <a:ext uri="{28A0092B-C50C-407E-A947-70E740481C1C}">
                <a14:useLocalDpi xmlns:a14="http://schemas.microsoft.com/office/drawing/2010/main" val="0"/>
              </a:ext>
            </a:extLst>
          </a:blip>
          <a:srcRect b="23174"/>
          <a:stretch/>
        </p:blipFill>
        <p:spPr>
          <a:xfrm>
            <a:off x="683516" y="899943"/>
            <a:ext cx="10211530" cy="5904011"/>
          </a:xfrm>
          <a:prstGeom prst="rect">
            <a:avLst/>
          </a:prstGeom>
          <a:noFill/>
        </p:spPr>
      </p:pic>
    </p:spTree>
    <p:extLst>
      <p:ext uri="{BB962C8B-B14F-4D97-AF65-F5344CB8AC3E}">
        <p14:creationId xmlns:p14="http://schemas.microsoft.com/office/powerpoint/2010/main" val="22093323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E022F-9330-2CC3-F755-25AC1154D8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D0BEFF-936A-423E-2D75-5AD7993F989D}"/>
              </a:ext>
            </a:extLst>
          </p:cNvPr>
          <p:cNvSpPr>
            <a:spLocks noGrp="1"/>
          </p:cNvSpPr>
          <p:nvPr>
            <p:ph type="title"/>
          </p:nvPr>
        </p:nvSpPr>
        <p:spPr>
          <a:xfrm>
            <a:off x="475284" y="0"/>
            <a:ext cx="11716716" cy="492443"/>
          </a:xfrm>
        </p:spPr>
        <p:txBody>
          <a:bodyPr/>
          <a:lstStyle/>
          <a:p>
            <a:r>
              <a:rPr lang="en-GB" sz="3200"/>
              <a:t>Modernized: Subcontractor - Dispatch List</a:t>
            </a:r>
          </a:p>
        </p:txBody>
      </p:sp>
      <p:sp>
        <p:nvSpPr>
          <p:cNvPr id="10" name="Text Placeholder 9">
            <a:extLst>
              <a:ext uri="{FF2B5EF4-FFF2-40B4-BE49-F238E27FC236}">
                <a16:creationId xmlns:a16="http://schemas.microsoft.com/office/drawing/2014/main" id="{94B39F4B-CEBA-73FB-5743-E8593FD88221}"/>
              </a:ext>
            </a:extLst>
          </p:cNvPr>
          <p:cNvSpPr>
            <a:spLocks noGrp="1"/>
          </p:cNvSpPr>
          <p:nvPr>
            <p:ph type="body" sz="quarter" idx="16"/>
          </p:nvPr>
        </p:nvSpPr>
        <p:spPr/>
        <p:txBody>
          <a:bodyPr/>
          <a:lstStyle/>
          <a:p>
            <a:r>
              <a:rPr lang="en-US"/>
              <a:t>Word layout</a:t>
            </a:r>
            <a:endParaRPr lang="en-GB"/>
          </a:p>
        </p:txBody>
      </p:sp>
      <p:sp>
        <p:nvSpPr>
          <p:cNvPr id="11" name="Text Placeholder 10">
            <a:extLst>
              <a:ext uri="{FF2B5EF4-FFF2-40B4-BE49-F238E27FC236}">
                <a16:creationId xmlns:a16="http://schemas.microsoft.com/office/drawing/2014/main" id="{866F63BC-BD02-B17F-A6F2-5CFBE370940F}"/>
              </a:ext>
            </a:extLst>
          </p:cNvPr>
          <p:cNvSpPr>
            <a:spLocks noGrp="1"/>
          </p:cNvSpPr>
          <p:nvPr>
            <p:ph type="body" sz="quarter" idx="17"/>
          </p:nvPr>
        </p:nvSpPr>
        <p:spPr>
          <a:xfrm>
            <a:off x="6397625" y="1436688"/>
            <a:ext cx="5219700" cy="430887"/>
          </a:xfrm>
        </p:spPr>
        <p:txBody>
          <a:bodyPr/>
          <a:lstStyle/>
          <a:p>
            <a:r>
              <a:rPr lang="en-US"/>
              <a:t>Excel layout</a:t>
            </a:r>
            <a:endParaRPr lang="en-GB"/>
          </a:p>
        </p:txBody>
      </p:sp>
      <p:pic>
        <p:nvPicPr>
          <p:cNvPr id="13" name="Content Placeholder 12">
            <a:extLst>
              <a:ext uri="{FF2B5EF4-FFF2-40B4-BE49-F238E27FC236}">
                <a16:creationId xmlns:a16="http://schemas.microsoft.com/office/drawing/2014/main" id="{25AF690D-24F3-5EA0-2A16-0E88E205C23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rcRect/>
          <a:stretch/>
        </p:blipFill>
        <p:spPr>
          <a:xfrm>
            <a:off x="6397624" y="2081211"/>
            <a:ext cx="5652973" cy="2969357"/>
          </a:xfrm>
        </p:spPr>
      </p:pic>
      <p:pic>
        <p:nvPicPr>
          <p:cNvPr id="7" name="Picture 6">
            <a:extLst>
              <a:ext uri="{FF2B5EF4-FFF2-40B4-BE49-F238E27FC236}">
                <a16:creationId xmlns:a16="http://schemas.microsoft.com/office/drawing/2014/main" id="{3F530333-88CC-548B-85DF-6E7C7EE6EE6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84200" y="2068582"/>
            <a:ext cx="3002504" cy="4187825"/>
          </a:xfrm>
          <a:prstGeom prst="rect">
            <a:avLst/>
          </a:prstGeom>
        </p:spPr>
      </p:pic>
      <p:sp>
        <p:nvSpPr>
          <p:cNvPr id="15" name="TextBox 14">
            <a:extLst>
              <a:ext uri="{FF2B5EF4-FFF2-40B4-BE49-F238E27FC236}">
                <a16:creationId xmlns:a16="http://schemas.microsoft.com/office/drawing/2014/main" id="{8A7BFCC3-5FEC-05EE-0909-3CA7638BF50D}"/>
              </a:ext>
            </a:extLst>
          </p:cNvPr>
          <p:cNvSpPr txBox="1"/>
          <p:nvPr/>
        </p:nvSpPr>
        <p:spPr>
          <a:xfrm>
            <a:off x="475284" y="866349"/>
            <a:ext cx="67635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eep report, deprecate RDL layout, add </a:t>
            </a:r>
            <a:r>
              <a:rPr kumimoji="0" lang="en-US" sz="2000" b="0" i="0" u="none" strike="noStrike" kern="1200" cap="none" spc="0" normalizeH="0" baseline="0" noProof="0">
                <a:ln>
                  <a:noFill/>
                </a:ln>
                <a:solidFill>
                  <a:srgbClr val="000000"/>
                </a:solidFill>
                <a:effectLst/>
                <a:highlight>
                  <a:srgbClr val="0078D4"/>
                </a:highlight>
                <a:uLnTx/>
                <a:uFillTx/>
                <a:latin typeface="Segoe UI"/>
                <a:ea typeface="+mn-ea"/>
                <a:cs typeface="+mn-cs"/>
              </a:rPr>
              <a:t>Word</a:t>
            </a:r>
            <a:r>
              <a:rPr kumimoji="0" lang="en-US" sz="1800" b="0" i="0" u="none" strike="noStrike" kern="1200" cap="none" spc="0" normalizeH="0" baseline="0" noProof="0">
                <a:ln>
                  <a:noFill/>
                </a:ln>
                <a:solidFill>
                  <a:srgbClr val="000000"/>
                </a:solidFill>
                <a:effectLst/>
                <a:uLnTx/>
                <a:uFillTx/>
                <a:latin typeface="Segoe UI"/>
                <a:ea typeface="+mn-ea"/>
                <a:cs typeface="+mn-cs"/>
              </a:rPr>
              <a:t> + </a:t>
            </a:r>
            <a:r>
              <a:rPr kumimoji="0" lang="en-US" sz="1800" b="0" i="0" u="none" strike="noStrike" kern="1200" cap="none" spc="0" normalizeH="0" baseline="0" noProof="0">
                <a:ln>
                  <a:noFill/>
                </a:ln>
                <a:solidFill>
                  <a:srgbClr val="000000"/>
                </a:solidFill>
                <a:effectLst/>
                <a:highlight>
                  <a:srgbClr val="008000"/>
                </a:highlight>
                <a:uLnTx/>
                <a:uFillTx/>
                <a:latin typeface="Segoe UI"/>
                <a:ea typeface="+mn-ea"/>
                <a:cs typeface="+mn-cs"/>
              </a:rPr>
              <a:t>Excel</a:t>
            </a:r>
            <a:r>
              <a:rPr kumimoji="0" lang="en-US" sz="1800" b="0" i="0" u="none" strike="noStrike" kern="1200" cap="none" spc="0" normalizeH="0" baseline="0" noProof="0">
                <a:ln>
                  <a:noFill/>
                </a:ln>
                <a:solidFill>
                  <a:srgbClr val="000000"/>
                </a:solidFill>
                <a:effectLst/>
                <a:uLnTx/>
                <a:uFillTx/>
                <a:latin typeface="Segoe UI"/>
                <a:ea typeface="+mn-ea"/>
                <a:cs typeface="+mn-cs"/>
              </a:rPr>
              <a:t> layouts</a:t>
            </a: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9814473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CD0C3-1ED8-C8E3-B7A7-67ACCC1C05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A033DC-9784-6EE4-EA13-2004A29DCDA1}"/>
              </a:ext>
            </a:extLst>
          </p:cNvPr>
          <p:cNvSpPr>
            <a:spLocks noGrp="1"/>
          </p:cNvSpPr>
          <p:nvPr>
            <p:ph type="title"/>
          </p:nvPr>
        </p:nvSpPr>
        <p:spPr>
          <a:xfrm>
            <a:off x="588263" y="585788"/>
            <a:ext cx="4159950" cy="5683249"/>
          </a:xfrm>
        </p:spPr>
        <p:txBody>
          <a:bodyPr wrap="square" anchor="ctr">
            <a:normAutofit/>
          </a:bodyPr>
          <a:lstStyle/>
          <a:p>
            <a:r>
              <a:rPr lang="en-GB"/>
              <a:t>Legacy: </a:t>
            </a:r>
            <a:r>
              <a:rPr lang="en-DK"/>
              <a:t>Where-Used (Top Level)</a:t>
            </a:r>
            <a:endParaRPr lang="en-GB"/>
          </a:p>
        </p:txBody>
      </p:sp>
      <p:pic>
        <p:nvPicPr>
          <p:cNvPr id="3" name="Picture 2">
            <a:extLst>
              <a:ext uri="{FF2B5EF4-FFF2-40B4-BE49-F238E27FC236}">
                <a16:creationId xmlns:a16="http://schemas.microsoft.com/office/drawing/2014/main" id="{D1A08D23-1AA6-6834-B38A-E3895CA430D8}"/>
              </a:ext>
            </a:extLst>
          </p:cNvPr>
          <p:cNvPicPr>
            <a:picLocks noChangeAspect="1"/>
          </p:cNvPicPr>
          <p:nvPr/>
        </p:nvPicPr>
        <p:blipFill>
          <a:blip r:embed="rId3">
            <a:extLst>
              <a:ext uri="{28A0092B-C50C-407E-A947-70E740481C1C}">
                <a14:useLocalDpi xmlns:a14="http://schemas.microsoft.com/office/drawing/2010/main" val="0"/>
              </a:ext>
            </a:extLst>
          </a:blip>
          <a:srcRect l="472" r="472"/>
          <a:stretch/>
        </p:blipFill>
        <p:spPr>
          <a:xfrm>
            <a:off x="5497033" y="1084521"/>
            <a:ext cx="6536074" cy="4837813"/>
          </a:xfrm>
          <a:prstGeom prst="rect">
            <a:avLst/>
          </a:prstGeom>
        </p:spPr>
      </p:pic>
    </p:spTree>
    <p:extLst>
      <p:ext uri="{BB962C8B-B14F-4D97-AF65-F5344CB8AC3E}">
        <p14:creationId xmlns:p14="http://schemas.microsoft.com/office/powerpoint/2010/main" val="247802231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8CB72-76F3-B3EA-181C-903BE7F92D41}"/>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41720FF-BB31-FE53-431D-7B984281408C}"/>
              </a:ext>
            </a:extLst>
          </p:cNvPr>
          <p:cNvSpPr>
            <a:spLocks noGrp="1"/>
          </p:cNvSpPr>
          <p:nvPr>
            <p:ph type="title"/>
          </p:nvPr>
        </p:nvSpPr>
        <p:spPr>
          <a:xfrm>
            <a:off x="588262" y="457200"/>
            <a:ext cx="11500193" cy="553998"/>
          </a:xfrm>
        </p:spPr>
        <p:txBody>
          <a:bodyPr/>
          <a:lstStyle/>
          <a:p>
            <a:r>
              <a:rPr lang="en-DK"/>
              <a:t>Modernize</a:t>
            </a:r>
            <a:r>
              <a:rPr lang="en-US"/>
              <a:t>d:</a:t>
            </a:r>
            <a:r>
              <a:rPr lang="en-DK"/>
              <a:t> Where-Used (Top Level)</a:t>
            </a:r>
            <a:endParaRPr lang="en-GB" i="1"/>
          </a:p>
        </p:txBody>
      </p:sp>
      <p:sp>
        <p:nvSpPr>
          <p:cNvPr id="10" name="Content Placeholder 9">
            <a:extLst>
              <a:ext uri="{FF2B5EF4-FFF2-40B4-BE49-F238E27FC236}">
                <a16:creationId xmlns:a16="http://schemas.microsoft.com/office/drawing/2014/main" id="{E4477A84-82E5-4702-97D2-37700C050A00}"/>
              </a:ext>
            </a:extLst>
          </p:cNvPr>
          <p:cNvSpPr>
            <a:spLocks noGrp="1"/>
          </p:cNvSpPr>
          <p:nvPr>
            <p:ph sz="quarter" idx="12"/>
          </p:nvPr>
        </p:nvSpPr>
        <p:spPr>
          <a:xfrm>
            <a:off x="584200" y="1435100"/>
            <a:ext cx="3470965" cy="677108"/>
          </a:xfrm>
        </p:spPr>
        <p:txBody>
          <a:bodyPr/>
          <a:lstStyle/>
          <a:p>
            <a:pPr marL="0" indent="0">
              <a:buNone/>
            </a:pPr>
            <a:r>
              <a:rPr lang="en-GB" sz="2000"/>
              <a:t>Deprecate the RDLC layout</a:t>
            </a:r>
          </a:p>
          <a:p>
            <a:pPr marL="0" indent="0">
              <a:buNone/>
            </a:pPr>
            <a:r>
              <a:rPr lang="en-GB" sz="2000"/>
              <a:t>Add </a:t>
            </a:r>
            <a:r>
              <a:rPr lang="en-GB" sz="2000">
                <a:highlight>
                  <a:srgbClr val="008000"/>
                </a:highlight>
              </a:rPr>
              <a:t>Excel</a:t>
            </a:r>
            <a:r>
              <a:rPr lang="en-GB" sz="2000"/>
              <a:t> layout</a:t>
            </a:r>
            <a:endParaRPr lang="en-GB" sz="1600"/>
          </a:p>
        </p:txBody>
      </p:sp>
      <p:pic>
        <p:nvPicPr>
          <p:cNvPr id="13" name="Picture 12">
            <a:extLst>
              <a:ext uri="{FF2B5EF4-FFF2-40B4-BE49-F238E27FC236}">
                <a16:creationId xmlns:a16="http://schemas.microsoft.com/office/drawing/2014/main" id="{52BCC201-7A6D-D318-00DB-7508D2311274}"/>
              </a:ext>
            </a:extLst>
          </p:cNvPr>
          <p:cNvPicPr>
            <a:picLocks noChangeAspect="1"/>
          </p:cNvPicPr>
          <p:nvPr/>
        </p:nvPicPr>
        <p:blipFill>
          <a:blip r:embed="rId3">
            <a:extLst>
              <a:ext uri="{28A0092B-C50C-407E-A947-70E740481C1C}">
                <a14:useLocalDpi xmlns:a14="http://schemas.microsoft.com/office/drawing/2010/main" val="0"/>
              </a:ext>
            </a:extLst>
          </a:blip>
          <a:srcRect r="31919"/>
          <a:stretch/>
        </p:blipFill>
        <p:spPr>
          <a:xfrm>
            <a:off x="4578685" y="1435100"/>
            <a:ext cx="6732664" cy="5189402"/>
          </a:xfrm>
          <a:prstGeom prst="rect">
            <a:avLst/>
          </a:prstGeom>
        </p:spPr>
      </p:pic>
    </p:spTree>
    <p:extLst>
      <p:ext uri="{BB962C8B-B14F-4D97-AF65-F5344CB8AC3E}">
        <p14:creationId xmlns:p14="http://schemas.microsoft.com/office/powerpoint/2010/main" val="139120496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B9755-2806-4C7F-C2DA-2EA676F877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DA378E-33EB-2BCF-D250-266B6B94BCE4}"/>
              </a:ext>
            </a:extLst>
          </p:cNvPr>
          <p:cNvSpPr>
            <a:spLocks noGrp="1"/>
          </p:cNvSpPr>
          <p:nvPr>
            <p:ph type="title"/>
          </p:nvPr>
        </p:nvSpPr>
        <p:spPr>
          <a:xfrm>
            <a:off x="588263" y="585788"/>
            <a:ext cx="4159950" cy="5683249"/>
          </a:xfrm>
        </p:spPr>
        <p:txBody>
          <a:bodyPr wrap="square" anchor="ctr">
            <a:normAutofit/>
          </a:bodyPr>
          <a:lstStyle/>
          <a:p>
            <a:r>
              <a:rPr lang="en-GB" err="1"/>
              <a:t>Lecacy</a:t>
            </a:r>
            <a:r>
              <a:rPr lang="en-GB"/>
              <a:t>: Item - Able to Make (Timeline)</a:t>
            </a:r>
          </a:p>
        </p:txBody>
      </p:sp>
      <p:pic>
        <p:nvPicPr>
          <p:cNvPr id="4" name="Picture 3" descr="A screenshot of a graph&#10;&#10;AI-generated content may be incorrect.">
            <a:extLst>
              <a:ext uri="{FF2B5EF4-FFF2-40B4-BE49-F238E27FC236}">
                <a16:creationId xmlns:a16="http://schemas.microsoft.com/office/drawing/2014/main" id="{8E0242F5-7781-AD32-16D9-7D0421B0ACDD}"/>
              </a:ext>
            </a:extLst>
          </p:cNvPr>
          <p:cNvPicPr>
            <a:picLocks noChangeAspect="1"/>
          </p:cNvPicPr>
          <p:nvPr/>
        </p:nvPicPr>
        <p:blipFill>
          <a:blip r:embed="rId3"/>
          <a:stretch>
            <a:fillRect/>
          </a:stretch>
        </p:blipFill>
        <p:spPr>
          <a:xfrm>
            <a:off x="5882640" y="0"/>
            <a:ext cx="5760720" cy="6858000"/>
          </a:xfrm>
          <a:prstGeom prst="rect">
            <a:avLst/>
          </a:prstGeom>
          <a:noFill/>
        </p:spPr>
      </p:pic>
    </p:spTree>
    <p:extLst>
      <p:ext uri="{BB962C8B-B14F-4D97-AF65-F5344CB8AC3E}">
        <p14:creationId xmlns:p14="http://schemas.microsoft.com/office/powerpoint/2010/main" val="177971998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40336-403C-9A5D-5A38-A8FA192FA58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AF4770E-81EC-F017-2F79-B5F662618815}"/>
              </a:ext>
            </a:extLst>
          </p:cNvPr>
          <p:cNvSpPr>
            <a:spLocks noGrp="1"/>
          </p:cNvSpPr>
          <p:nvPr>
            <p:ph type="title"/>
          </p:nvPr>
        </p:nvSpPr>
        <p:spPr>
          <a:xfrm>
            <a:off x="588262" y="457200"/>
            <a:ext cx="11603737" cy="553998"/>
          </a:xfrm>
        </p:spPr>
        <p:txBody>
          <a:bodyPr/>
          <a:lstStyle/>
          <a:p>
            <a:r>
              <a:rPr lang="en-DK"/>
              <a:t>Modernize</a:t>
            </a:r>
            <a:r>
              <a:rPr lang="en-US"/>
              <a:t>d:</a:t>
            </a:r>
            <a:r>
              <a:rPr lang="en-DK"/>
              <a:t> </a:t>
            </a:r>
            <a:r>
              <a:rPr lang="en-GB"/>
              <a:t>Item - Able to Make (Timeline)</a:t>
            </a:r>
            <a:endParaRPr lang="en-GB" i="1"/>
          </a:p>
        </p:txBody>
      </p:sp>
      <p:sp>
        <p:nvSpPr>
          <p:cNvPr id="10" name="Content Placeholder 9">
            <a:extLst>
              <a:ext uri="{FF2B5EF4-FFF2-40B4-BE49-F238E27FC236}">
                <a16:creationId xmlns:a16="http://schemas.microsoft.com/office/drawing/2014/main" id="{EE5C46AF-68FA-4B91-D0AC-6508417579F3}"/>
              </a:ext>
            </a:extLst>
          </p:cNvPr>
          <p:cNvSpPr>
            <a:spLocks noGrp="1"/>
          </p:cNvSpPr>
          <p:nvPr>
            <p:ph sz="quarter" idx="12"/>
          </p:nvPr>
        </p:nvSpPr>
        <p:spPr>
          <a:xfrm>
            <a:off x="584200" y="1435100"/>
            <a:ext cx="3470965" cy="677108"/>
          </a:xfrm>
        </p:spPr>
        <p:txBody>
          <a:bodyPr/>
          <a:lstStyle/>
          <a:p>
            <a:pPr marL="0" indent="0">
              <a:buNone/>
            </a:pPr>
            <a:r>
              <a:rPr lang="en-GB" sz="2000"/>
              <a:t>Deprecate the RDLC layout</a:t>
            </a:r>
          </a:p>
          <a:p>
            <a:pPr marL="0" indent="0">
              <a:buNone/>
            </a:pPr>
            <a:r>
              <a:rPr lang="en-GB" sz="2000"/>
              <a:t>Add </a:t>
            </a:r>
            <a:r>
              <a:rPr lang="en-GB" sz="2000">
                <a:highlight>
                  <a:srgbClr val="008000"/>
                </a:highlight>
              </a:rPr>
              <a:t>Excel</a:t>
            </a:r>
            <a:r>
              <a:rPr lang="en-GB" sz="2000"/>
              <a:t> layout</a:t>
            </a:r>
            <a:endParaRPr lang="en-GB" sz="1600"/>
          </a:p>
        </p:txBody>
      </p:sp>
      <p:pic>
        <p:nvPicPr>
          <p:cNvPr id="13" name="Picture 12">
            <a:extLst>
              <a:ext uri="{FF2B5EF4-FFF2-40B4-BE49-F238E27FC236}">
                <a16:creationId xmlns:a16="http://schemas.microsoft.com/office/drawing/2014/main" id="{7EDEA97E-A67F-03A3-169A-BCAFF19DC0F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55165" y="1435100"/>
            <a:ext cx="8044686" cy="4213084"/>
          </a:xfrm>
          <a:prstGeom prst="rect">
            <a:avLst/>
          </a:prstGeom>
        </p:spPr>
      </p:pic>
    </p:spTree>
    <p:extLst>
      <p:ext uri="{BB962C8B-B14F-4D97-AF65-F5344CB8AC3E}">
        <p14:creationId xmlns:p14="http://schemas.microsoft.com/office/powerpoint/2010/main" val="72688912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58D2ED-F5CC-6151-58B4-30FBA2C3E24C}"/>
              </a:ext>
            </a:extLst>
          </p:cNvPr>
          <p:cNvSpPr>
            <a:spLocks noGrp="1"/>
          </p:cNvSpPr>
          <p:nvPr>
            <p:ph type="title"/>
          </p:nvPr>
        </p:nvSpPr>
        <p:spPr>
          <a:xfrm>
            <a:off x="588263" y="457200"/>
            <a:ext cx="11018520" cy="1661993"/>
          </a:xfrm>
        </p:spPr>
        <p:txBody>
          <a:bodyPr/>
          <a:lstStyle/>
          <a:p>
            <a:r>
              <a:rPr lang="en-US"/>
              <a:t>Demo: Production Order – WIP</a:t>
            </a:r>
            <a:br>
              <a:rPr lang="en-US"/>
            </a:br>
            <a:r>
              <a:rPr lang="en-US"/>
              <a:t> </a:t>
            </a:r>
            <a:br>
              <a:rPr lang="en-US"/>
            </a:br>
            <a:r>
              <a:rPr lang="en-US"/>
              <a:t>5802</a:t>
            </a:r>
            <a:endParaRPr lang="en-GB"/>
          </a:p>
        </p:txBody>
      </p:sp>
    </p:spTree>
    <p:extLst>
      <p:ext uri="{BB962C8B-B14F-4D97-AF65-F5344CB8AC3E}">
        <p14:creationId xmlns:p14="http://schemas.microsoft.com/office/powerpoint/2010/main" val="351043655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F4272-9633-D1D3-323F-03511694C0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2C1852-9165-C8BF-95B6-ECCC066F5DB4}"/>
              </a:ext>
            </a:extLst>
          </p:cNvPr>
          <p:cNvSpPr>
            <a:spLocks noGrp="1"/>
          </p:cNvSpPr>
          <p:nvPr>
            <p:ph type="title"/>
          </p:nvPr>
        </p:nvSpPr>
        <p:spPr>
          <a:xfrm>
            <a:off x="588263" y="457200"/>
            <a:ext cx="11018520" cy="553998"/>
          </a:xfrm>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Updated manufacturing reports (26.2)</a:t>
            </a:r>
          </a:p>
        </p:txBody>
      </p:sp>
      <p:sp>
        <p:nvSpPr>
          <p:cNvPr id="18" name="Text Placeholder 17">
            <a:extLst>
              <a:ext uri="{FF2B5EF4-FFF2-40B4-BE49-F238E27FC236}">
                <a16:creationId xmlns:a16="http://schemas.microsoft.com/office/drawing/2014/main" id="{CB7501F2-474E-1ADF-0B2A-866BA89C30CB}"/>
              </a:ext>
            </a:extLst>
          </p:cNvPr>
          <p:cNvSpPr>
            <a:spLocks noGrp="1"/>
          </p:cNvSpPr>
          <p:nvPr>
            <p:ph type="body" sz="quarter" idx="10"/>
          </p:nvPr>
        </p:nvSpPr>
        <p:spPr>
          <a:xfrm>
            <a:off x="586390" y="1434370"/>
            <a:ext cx="11018520" cy="4038029"/>
          </a:xfrm>
        </p:spPr>
        <p:txBody>
          <a:bodyPr/>
          <a:lstStyle/>
          <a:p>
            <a:r>
              <a:rPr lang="en-US" sz="3200">
                <a:ln w="3175">
                  <a:noFill/>
                </a:ln>
                <a:latin typeface="+mj-lt"/>
              </a:rPr>
              <a:t>Production Order WIP</a:t>
            </a:r>
          </a:p>
          <a:p>
            <a:r>
              <a:rPr lang="en-US" sz="3200">
                <a:ln w="3175">
                  <a:noFill/>
                </a:ln>
                <a:latin typeface="+mj-lt"/>
              </a:rPr>
              <a:t>Production Order Statistics</a:t>
            </a:r>
          </a:p>
          <a:p>
            <a:r>
              <a:rPr lang="en-US" sz="3200">
                <a:ln w="3175">
                  <a:noFill/>
                </a:ln>
                <a:latin typeface="+mj-lt"/>
              </a:rPr>
              <a:t>Capacity Task List</a:t>
            </a:r>
          </a:p>
          <a:p>
            <a:r>
              <a:rPr lang="en-US" sz="3200">
                <a:ln w="3175">
                  <a:noFill/>
                </a:ln>
                <a:latin typeface="+mj-lt"/>
              </a:rPr>
              <a:t>Subcontractor - Dispatch List</a:t>
            </a:r>
          </a:p>
          <a:p>
            <a:r>
              <a:rPr lang="en-US" sz="3200">
                <a:ln w="3175">
                  <a:noFill/>
                </a:ln>
                <a:latin typeface="+mj-lt"/>
              </a:rPr>
              <a:t>Where-Used (Top Level)</a:t>
            </a:r>
          </a:p>
          <a:p>
            <a:r>
              <a:rPr lang="en-GB" sz="3200">
                <a:ln w="3175">
                  <a:noFill/>
                </a:ln>
                <a:latin typeface="+mj-lt"/>
              </a:rPr>
              <a:t>Item - Able to Make (Timeline)</a:t>
            </a:r>
            <a:endParaRPr lang="en-US" sz="3200">
              <a:ln w="3175">
                <a:noFill/>
              </a:ln>
              <a:latin typeface="+mj-lt"/>
            </a:endParaRPr>
          </a:p>
          <a:p>
            <a:endParaRPr lang="en-US" sz="3200">
              <a:ln w="3175">
                <a:noFill/>
              </a:ln>
              <a:latin typeface="+mj-lt"/>
            </a:endParaRPr>
          </a:p>
        </p:txBody>
      </p:sp>
    </p:spTree>
    <p:extLst>
      <p:ext uri="{BB962C8B-B14F-4D97-AF65-F5344CB8AC3E}">
        <p14:creationId xmlns:p14="http://schemas.microsoft.com/office/powerpoint/2010/main" val="159862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0EFF6-5F70-4126-2A01-C32515B71E3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86F0EE4-D6C4-9952-DFCD-6B2DFD66D1FF}"/>
              </a:ext>
            </a:extLst>
          </p:cNvPr>
          <p:cNvSpPr>
            <a:spLocks noGrp="1"/>
          </p:cNvSpPr>
          <p:nvPr>
            <p:ph type="title"/>
          </p:nvPr>
        </p:nvSpPr>
        <p:spPr>
          <a:xfrm>
            <a:off x="585216" y="1869828"/>
            <a:ext cx="4530748" cy="1661993"/>
          </a:xfrm>
        </p:spPr>
        <p:txBody>
          <a:bodyPr/>
          <a:lstStyle/>
          <a:p>
            <a:r>
              <a:rPr lang="en-US"/>
              <a:t>New</a:t>
            </a:r>
            <a:br>
              <a:rPr lang="en-US"/>
            </a:br>
            <a:r>
              <a:rPr lang="en-US"/>
              <a:t>Manufacturing reports</a:t>
            </a:r>
            <a:endParaRPr lang="en-GB"/>
          </a:p>
        </p:txBody>
      </p:sp>
      <p:sp>
        <p:nvSpPr>
          <p:cNvPr id="5" name="Text Placeholder 4">
            <a:extLst>
              <a:ext uri="{FF2B5EF4-FFF2-40B4-BE49-F238E27FC236}">
                <a16:creationId xmlns:a16="http://schemas.microsoft.com/office/drawing/2014/main" id="{8A637E2E-96C0-D0B4-0377-93C313BD9C06}"/>
              </a:ext>
            </a:extLst>
          </p:cNvPr>
          <p:cNvSpPr>
            <a:spLocks noGrp="1"/>
          </p:cNvSpPr>
          <p:nvPr>
            <p:ph type="body" sz="quarter" idx="12"/>
          </p:nvPr>
        </p:nvSpPr>
        <p:spPr/>
        <p:txBody>
          <a:bodyPr/>
          <a:lstStyle/>
          <a:p>
            <a:r>
              <a:rPr lang="en-US"/>
              <a:t>26.2</a:t>
            </a:r>
            <a:endParaRPr lang="en-GB"/>
          </a:p>
        </p:txBody>
      </p:sp>
    </p:spTree>
    <p:extLst>
      <p:ext uri="{BB962C8B-B14F-4D97-AF65-F5344CB8AC3E}">
        <p14:creationId xmlns:p14="http://schemas.microsoft.com/office/powerpoint/2010/main" val="278555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A1BC4-2CAF-DAAB-23C3-98A9CEBFC5EB}"/>
              </a:ext>
            </a:extLst>
          </p:cNvPr>
          <p:cNvSpPr>
            <a:spLocks noGrp="1"/>
          </p:cNvSpPr>
          <p:nvPr>
            <p:ph type="title"/>
          </p:nvPr>
        </p:nvSpPr>
        <p:spPr>
          <a:xfrm>
            <a:off x="585216" y="2537210"/>
            <a:ext cx="3948684" cy="997196"/>
          </a:xfrm>
        </p:spPr>
        <p:txBody>
          <a:bodyPr/>
          <a:lstStyle/>
          <a:p>
            <a:r>
              <a:rPr lang="en-GB"/>
              <a:t>Discover and explore reports</a:t>
            </a:r>
          </a:p>
        </p:txBody>
      </p:sp>
    </p:spTree>
    <p:extLst>
      <p:ext uri="{BB962C8B-B14F-4D97-AF65-F5344CB8AC3E}">
        <p14:creationId xmlns:p14="http://schemas.microsoft.com/office/powerpoint/2010/main" val="57872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1474E-D072-F6D6-8C64-65A0C2D7BC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CD0866-1832-3613-8ECB-21881587DC56}"/>
              </a:ext>
            </a:extLst>
          </p:cNvPr>
          <p:cNvSpPr>
            <a:spLocks noGrp="1"/>
          </p:cNvSpPr>
          <p:nvPr>
            <p:ph type="title"/>
          </p:nvPr>
        </p:nvSpPr>
        <p:spPr>
          <a:xfrm>
            <a:off x="588263" y="457200"/>
            <a:ext cx="11018520" cy="553998"/>
          </a:xfrm>
        </p:spPr>
        <p:txBody>
          <a:bodyPr/>
          <a:lstStyle/>
          <a:p>
            <a:pPr>
              <a:spcBef>
                <a:spcPts val="0"/>
              </a:spcBef>
              <a:buSzPct val="90000"/>
            </a:pPr>
            <a:r>
              <a:rPr lang="en-GB" spc="0"/>
              <a:t>Legacy </a:t>
            </a:r>
            <a:r>
              <a:rPr lang="en-GB" spc="0">
                <a:gradFill>
                  <a:gsLst>
                    <a:gs pos="0">
                      <a:schemeClr val="tx2">
                        <a:lumMod val="50000"/>
                      </a:schemeClr>
                    </a:gs>
                    <a:gs pos="82000">
                      <a:schemeClr val="accent4"/>
                    </a:gs>
                    <a:gs pos="45000">
                      <a:schemeClr val="tx2"/>
                    </a:gs>
                  </a:gsLst>
                  <a:lin ang="13500000" scaled="1"/>
                </a:gradFill>
              </a:rPr>
              <a:t>Production cost</a:t>
            </a:r>
            <a:r>
              <a:rPr lang="en-GB" i="1" spc="0"/>
              <a:t> </a:t>
            </a:r>
            <a:r>
              <a:rPr lang="en-GB" spc="0"/>
              <a:t>reports</a:t>
            </a:r>
            <a:endParaRPr lang="en-US" spc="0"/>
          </a:p>
        </p:txBody>
      </p:sp>
      <p:pic>
        <p:nvPicPr>
          <p:cNvPr id="3" name="Picture 2">
            <a:extLst>
              <a:ext uri="{FF2B5EF4-FFF2-40B4-BE49-F238E27FC236}">
                <a16:creationId xmlns:a16="http://schemas.microsoft.com/office/drawing/2014/main" id="{9EB7D9BC-39B9-8BC2-5702-CE3E19EED4A3}"/>
              </a:ext>
            </a:extLst>
          </p:cNvPr>
          <p:cNvPicPr>
            <a:picLocks noChangeAspect="1"/>
          </p:cNvPicPr>
          <p:nvPr/>
        </p:nvPicPr>
        <p:blipFill>
          <a:blip r:embed="rId3"/>
          <a:stretch>
            <a:fillRect/>
          </a:stretch>
        </p:blipFill>
        <p:spPr>
          <a:xfrm>
            <a:off x="764095" y="1461977"/>
            <a:ext cx="2964311" cy="4348719"/>
          </a:xfrm>
          <a:prstGeom prst="rect">
            <a:avLst/>
          </a:prstGeom>
          <a:ln>
            <a:solidFill>
              <a:schemeClr val="accent1"/>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39912954-B5F7-651E-AF6B-DE090A75617D}"/>
              </a:ext>
            </a:extLst>
          </p:cNvPr>
          <p:cNvPicPr>
            <a:picLocks noChangeAspect="1"/>
          </p:cNvPicPr>
          <p:nvPr/>
        </p:nvPicPr>
        <p:blipFill>
          <a:blip r:embed="rId4"/>
          <a:srcRect b="8594"/>
          <a:stretch/>
        </p:blipFill>
        <p:spPr>
          <a:xfrm>
            <a:off x="2785851" y="2197293"/>
            <a:ext cx="2812717" cy="3788837"/>
          </a:xfrm>
          <a:prstGeom prst="rect">
            <a:avLst/>
          </a:prstGeom>
          <a:ln>
            <a:solidFill>
              <a:schemeClr val="accent1"/>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D6007329-6E24-3FE9-F10B-F3178291C502}"/>
              </a:ext>
            </a:extLst>
          </p:cNvPr>
          <p:cNvPicPr>
            <a:picLocks noChangeAspect="1"/>
          </p:cNvPicPr>
          <p:nvPr/>
        </p:nvPicPr>
        <p:blipFill>
          <a:blip r:embed="rId5"/>
          <a:stretch>
            <a:fillRect/>
          </a:stretch>
        </p:blipFill>
        <p:spPr>
          <a:xfrm>
            <a:off x="5027554" y="1662022"/>
            <a:ext cx="3228422" cy="4063613"/>
          </a:xfrm>
          <a:prstGeom prst="rect">
            <a:avLst/>
          </a:prstGeom>
          <a:ln>
            <a:solidFill>
              <a:schemeClr val="accent1"/>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813B54FD-9D64-E63E-0EA0-6A40033A65BF}"/>
              </a:ext>
            </a:extLst>
          </p:cNvPr>
          <p:cNvPicPr>
            <a:picLocks noChangeAspect="1"/>
          </p:cNvPicPr>
          <p:nvPr/>
        </p:nvPicPr>
        <p:blipFill>
          <a:blip r:embed="rId6"/>
          <a:stretch>
            <a:fillRect/>
          </a:stretch>
        </p:blipFill>
        <p:spPr>
          <a:xfrm>
            <a:off x="7975112" y="1461977"/>
            <a:ext cx="3160024" cy="4642734"/>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578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D70C9-0A0B-237B-882D-B9342783DD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0BC487-289B-2553-137F-14EC131F89FD}"/>
              </a:ext>
            </a:extLst>
          </p:cNvPr>
          <p:cNvSpPr>
            <a:spLocks noGrp="1"/>
          </p:cNvSpPr>
          <p:nvPr>
            <p:ph type="title"/>
          </p:nvPr>
        </p:nvSpPr>
        <p:spPr>
          <a:xfrm>
            <a:off x="588263" y="457200"/>
            <a:ext cx="11018520" cy="553998"/>
          </a:xfrm>
        </p:spPr>
        <p:txBody>
          <a:bodyPr/>
          <a:lstStyle/>
          <a:p>
            <a:pPr>
              <a:spcBef>
                <a:spcPts val="0"/>
              </a:spcBef>
              <a:buSzPct val="90000"/>
            </a:pPr>
            <a:r>
              <a:rPr lang="en-GB" spc="0">
                <a:gradFill>
                  <a:gsLst>
                    <a:gs pos="0">
                      <a:schemeClr val="tx2">
                        <a:lumMod val="50000"/>
                      </a:schemeClr>
                    </a:gs>
                    <a:gs pos="82000">
                      <a:schemeClr val="accent4"/>
                    </a:gs>
                    <a:gs pos="45000">
                      <a:schemeClr val="tx2"/>
                    </a:gs>
                  </a:gsLst>
                  <a:lin ang="13500000" scaled="1"/>
                </a:gradFill>
              </a:rPr>
              <a:t>Replaced: </a:t>
            </a:r>
            <a:r>
              <a:rPr lang="en-GB" spc="0"/>
              <a:t>New</a:t>
            </a:r>
            <a:r>
              <a:rPr lang="en-GB" spc="0">
                <a:gradFill>
                  <a:gsLst>
                    <a:gs pos="0">
                      <a:schemeClr val="tx2">
                        <a:lumMod val="50000"/>
                      </a:schemeClr>
                    </a:gs>
                    <a:gs pos="82000">
                      <a:schemeClr val="accent4"/>
                    </a:gs>
                    <a:gs pos="45000">
                      <a:schemeClr val="tx2"/>
                    </a:gs>
                  </a:gsLst>
                  <a:lin ang="13500000" scaled="1"/>
                </a:gradFill>
              </a:rPr>
              <a:t> </a:t>
            </a:r>
            <a:r>
              <a:rPr lang="en-GB" i="1" spc="0">
                <a:gradFill>
                  <a:gsLst>
                    <a:gs pos="0">
                      <a:schemeClr val="tx2">
                        <a:lumMod val="50000"/>
                      </a:schemeClr>
                    </a:gs>
                    <a:gs pos="82000">
                      <a:schemeClr val="accent4"/>
                    </a:gs>
                    <a:gs pos="45000">
                      <a:schemeClr val="tx2"/>
                    </a:gs>
                  </a:gsLst>
                  <a:lin ang="13500000" scaled="1"/>
                </a:gradFill>
              </a:rPr>
              <a:t>Production Cost Shares</a:t>
            </a:r>
            <a:r>
              <a:rPr lang="en-GB" i="1" spc="0"/>
              <a:t> </a:t>
            </a:r>
            <a:r>
              <a:rPr lang="en-GB" spc="0"/>
              <a:t>report</a:t>
            </a:r>
            <a:endParaRPr lang="en-US" spc="0"/>
          </a:p>
        </p:txBody>
      </p:sp>
      <p:sp>
        <p:nvSpPr>
          <p:cNvPr id="18" name="Text Placeholder 17">
            <a:extLst>
              <a:ext uri="{FF2B5EF4-FFF2-40B4-BE49-F238E27FC236}">
                <a16:creationId xmlns:a16="http://schemas.microsoft.com/office/drawing/2014/main" id="{EDE87836-DA3C-9537-B8A3-9FAC70B8DEC0}"/>
              </a:ext>
            </a:extLst>
          </p:cNvPr>
          <p:cNvSpPr>
            <a:spLocks noGrp="1"/>
          </p:cNvSpPr>
          <p:nvPr>
            <p:ph type="body" sz="quarter" idx="10"/>
          </p:nvPr>
        </p:nvSpPr>
        <p:spPr>
          <a:xfrm>
            <a:off x="586390" y="1434370"/>
            <a:ext cx="5030639" cy="1969770"/>
          </a:xfrm>
        </p:spPr>
        <p:txBody>
          <a:bodyPr/>
          <a:lstStyle/>
          <a:p>
            <a:r>
              <a:rPr lang="en-GB" sz="3200">
                <a:ln w="3175">
                  <a:noFill/>
                </a:ln>
                <a:latin typeface="+mj-lt"/>
              </a:rPr>
              <a:t>Replacing </a:t>
            </a:r>
          </a:p>
          <a:p>
            <a:r>
              <a:rPr lang="en-GB" sz="2000"/>
              <a:t>BOM Cost Share Distribution</a:t>
            </a:r>
          </a:p>
          <a:p>
            <a:r>
              <a:rPr lang="en-GB" sz="2000"/>
              <a:t>Cost Share Reports</a:t>
            </a:r>
          </a:p>
          <a:p>
            <a:r>
              <a:rPr lang="en-GB" sz="2000"/>
              <a:t>Detailed Calculation reports</a:t>
            </a:r>
          </a:p>
          <a:p>
            <a:r>
              <a:rPr lang="en-GB" sz="2000"/>
              <a:t>Quantity Explosion of BOM</a:t>
            </a:r>
            <a:endParaRPr lang="en-GB" sz="2400">
              <a:ln w="3175">
                <a:noFill/>
              </a:ln>
            </a:endParaRPr>
          </a:p>
        </p:txBody>
      </p:sp>
      <p:pic>
        <p:nvPicPr>
          <p:cNvPr id="3" name="Picture 2">
            <a:extLst>
              <a:ext uri="{FF2B5EF4-FFF2-40B4-BE49-F238E27FC236}">
                <a16:creationId xmlns:a16="http://schemas.microsoft.com/office/drawing/2014/main" id="{37C6B336-5ED1-1B6C-3049-F7D8BD147BAF}"/>
              </a:ext>
            </a:extLst>
          </p:cNvPr>
          <p:cNvPicPr>
            <a:picLocks noChangeAspect="1"/>
          </p:cNvPicPr>
          <p:nvPr/>
        </p:nvPicPr>
        <p:blipFill>
          <a:blip r:embed="rId3"/>
          <a:srcRect r="10746"/>
          <a:stretch/>
        </p:blipFill>
        <p:spPr>
          <a:xfrm>
            <a:off x="4408641" y="1434370"/>
            <a:ext cx="7021359" cy="4124005"/>
          </a:xfrm>
          <a:prstGeom prst="rect">
            <a:avLst/>
          </a:prstGeom>
        </p:spPr>
      </p:pic>
    </p:spTree>
    <p:extLst>
      <p:ext uri="{BB962C8B-B14F-4D97-AF65-F5344CB8AC3E}">
        <p14:creationId xmlns:p14="http://schemas.microsoft.com/office/powerpoint/2010/main" val="48919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B321A-8067-5263-BD2C-F51D418ED3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5B8C00-0A29-C967-F5A7-0A5FA7B8E1BD}"/>
              </a:ext>
            </a:extLst>
          </p:cNvPr>
          <p:cNvSpPr>
            <a:spLocks noGrp="1"/>
          </p:cNvSpPr>
          <p:nvPr>
            <p:ph type="title"/>
          </p:nvPr>
        </p:nvSpPr>
        <p:spPr>
          <a:xfrm>
            <a:off x="588263" y="457200"/>
            <a:ext cx="11018520" cy="553998"/>
          </a:xfrm>
        </p:spPr>
        <p:txBody>
          <a:bodyPr/>
          <a:lstStyle/>
          <a:p>
            <a:pPr>
              <a:spcBef>
                <a:spcPts val="0"/>
              </a:spcBef>
              <a:buSzPct val="90000"/>
            </a:pPr>
            <a:r>
              <a:rPr lang="en-GB" spc="0"/>
              <a:t>Legacy </a:t>
            </a:r>
            <a:r>
              <a:rPr lang="en-GB" spc="0">
                <a:gradFill>
                  <a:gsLst>
                    <a:gs pos="0">
                      <a:schemeClr val="tx2">
                        <a:lumMod val="50000"/>
                      </a:schemeClr>
                    </a:gs>
                    <a:gs pos="82000">
                      <a:schemeClr val="accent4"/>
                    </a:gs>
                    <a:gs pos="45000">
                      <a:schemeClr val="tx2"/>
                    </a:gs>
                  </a:gsLst>
                  <a:lin ang="13500000" scaled="1"/>
                </a:gradFill>
              </a:rPr>
              <a:t>Work/Machine </a:t>
            </a:r>
            <a:r>
              <a:rPr lang="en-GB" spc="0" err="1">
                <a:gradFill>
                  <a:gsLst>
                    <a:gs pos="0">
                      <a:schemeClr val="tx2">
                        <a:lumMod val="50000"/>
                      </a:schemeClr>
                    </a:gs>
                    <a:gs pos="82000">
                      <a:schemeClr val="accent4"/>
                    </a:gs>
                    <a:gs pos="45000">
                      <a:schemeClr val="tx2"/>
                    </a:gs>
                  </a:gsLst>
                  <a:lin ang="13500000" scaled="1"/>
                </a:gradFill>
              </a:rPr>
              <a:t>Center</a:t>
            </a:r>
            <a:r>
              <a:rPr lang="en-GB" spc="0">
                <a:gradFill>
                  <a:gsLst>
                    <a:gs pos="0">
                      <a:schemeClr val="tx2">
                        <a:lumMod val="50000"/>
                      </a:schemeClr>
                    </a:gs>
                    <a:gs pos="82000">
                      <a:schemeClr val="accent4"/>
                    </a:gs>
                    <a:gs pos="45000">
                      <a:schemeClr val="tx2"/>
                    </a:gs>
                  </a:gsLst>
                  <a:lin ang="13500000" scaled="1"/>
                </a:gradFill>
              </a:rPr>
              <a:t> Load</a:t>
            </a:r>
            <a:r>
              <a:rPr lang="en-GB" i="1" spc="0"/>
              <a:t> </a:t>
            </a:r>
            <a:r>
              <a:rPr lang="en-GB" spc="0"/>
              <a:t>reports</a:t>
            </a:r>
            <a:endParaRPr lang="en-US" spc="0"/>
          </a:p>
        </p:txBody>
      </p:sp>
      <p:pic>
        <p:nvPicPr>
          <p:cNvPr id="5" name="Picture 4">
            <a:extLst>
              <a:ext uri="{FF2B5EF4-FFF2-40B4-BE49-F238E27FC236}">
                <a16:creationId xmlns:a16="http://schemas.microsoft.com/office/drawing/2014/main" id="{06C59910-AE57-496B-1139-2D89E622C55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2963" y="1718536"/>
            <a:ext cx="3528194" cy="3420927"/>
          </a:xfrm>
          <a:prstGeom prst="rect">
            <a:avLst/>
          </a:prstGeom>
          <a:ln>
            <a:solidFill>
              <a:schemeClr val="accent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BDF906F7-61E6-DFF6-F15A-16096C58284F}"/>
              </a:ext>
            </a:extLst>
          </p:cNvPr>
          <p:cNvPicPr>
            <a:picLocks noChangeAspect="1"/>
          </p:cNvPicPr>
          <p:nvPr/>
        </p:nvPicPr>
        <p:blipFill>
          <a:blip r:embed="rId4">
            <a:extLst>
              <a:ext uri="{28A0092B-C50C-407E-A947-70E740481C1C}">
                <a14:useLocalDpi xmlns:a14="http://schemas.microsoft.com/office/drawing/2010/main" val="0"/>
              </a:ext>
            </a:extLst>
          </a:blip>
          <a:srcRect r="2531"/>
          <a:stretch/>
        </p:blipFill>
        <p:spPr>
          <a:xfrm>
            <a:off x="2467060" y="1903151"/>
            <a:ext cx="3745282" cy="4238682"/>
          </a:xfrm>
          <a:prstGeom prst="rect">
            <a:avLst/>
          </a:prstGeom>
          <a:ln>
            <a:solidFill>
              <a:schemeClr val="accent1"/>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F90E163E-3F0B-7251-DA2A-FF1B65872C7F}"/>
              </a:ext>
            </a:extLst>
          </p:cNvPr>
          <p:cNvPicPr>
            <a:picLocks noChangeAspect="1"/>
          </p:cNvPicPr>
          <p:nvPr/>
        </p:nvPicPr>
        <p:blipFill>
          <a:blip r:embed="rId5">
            <a:extLst>
              <a:ext uri="{28A0092B-C50C-407E-A947-70E740481C1C}">
                <a14:useLocalDpi xmlns:a14="http://schemas.microsoft.com/office/drawing/2010/main" val="0"/>
              </a:ext>
            </a:extLst>
          </a:blip>
          <a:srcRect b="33696"/>
          <a:stretch/>
        </p:blipFill>
        <p:spPr>
          <a:xfrm>
            <a:off x="4912192" y="1601216"/>
            <a:ext cx="3347763" cy="3219631"/>
          </a:xfrm>
          <a:prstGeom prst="rect">
            <a:avLst/>
          </a:prstGeom>
          <a:ln>
            <a:solidFill>
              <a:schemeClr val="accent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6E5CAF40-E5BB-1D52-C250-A8E63BA3F289}"/>
              </a:ext>
            </a:extLst>
          </p:cNvPr>
          <p:cNvPicPr>
            <a:picLocks noChangeAspect="1"/>
          </p:cNvPicPr>
          <p:nvPr/>
        </p:nvPicPr>
        <p:blipFill>
          <a:blip r:embed="rId6">
            <a:extLst>
              <a:ext uri="{28A0092B-C50C-407E-A947-70E740481C1C}">
                <a14:useLocalDpi xmlns:a14="http://schemas.microsoft.com/office/drawing/2010/main" val="0"/>
              </a:ext>
            </a:extLst>
          </a:blip>
          <a:srcRect l="2777" b="18078"/>
          <a:stretch/>
        </p:blipFill>
        <p:spPr>
          <a:xfrm>
            <a:off x="7471195" y="1471392"/>
            <a:ext cx="3641274" cy="4526899"/>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5541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920E7-20A1-EDEB-66BC-4012886FF2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42B7C5-B9D0-4037-28BE-D250EC90C764}"/>
              </a:ext>
            </a:extLst>
          </p:cNvPr>
          <p:cNvSpPr>
            <a:spLocks noGrp="1"/>
          </p:cNvSpPr>
          <p:nvPr>
            <p:ph type="title"/>
          </p:nvPr>
        </p:nvSpPr>
        <p:spPr>
          <a:xfrm>
            <a:off x="588263" y="457200"/>
            <a:ext cx="11018520" cy="553998"/>
          </a:xfrm>
        </p:spPr>
        <p:txBody>
          <a:bodyPr/>
          <a:lstStyle/>
          <a:p>
            <a:pPr>
              <a:spcBef>
                <a:spcPts val="0"/>
              </a:spcBef>
              <a:buSzPct val="90000"/>
            </a:pPr>
            <a:r>
              <a:rPr lang="en-GB" spc="0">
                <a:gradFill>
                  <a:gsLst>
                    <a:gs pos="0">
                      <a:schemeClr val="tx2">
                        <a:lumMod val="50000"/>
                      </a:schemeClr>
                    </a:gs>
                    <a:gs pos="82000">
                      <a:schemeClr val="accent4"/>
                    </a:gs>
                    <a:gs pos="45000">
                      <a:schemeClr val="tx2"/>
                    </a:gs>
                  </a:gsLst>
                  <a:lin ang="13500000" scaled="1"/>
                </a:gradFill>
              </a:rPr>
              <a:t>Replaced: </a:t>
            </a:r>
            <a:r>
              <a:rPr lang="en-GB" spc="0"/>
              <a:t>New</a:t>
            </a:r>
            <a:r>
              <a:rPr lang="en-GB" spc="0">
                <a:gradFill>
                  <a:gsLst>
                    <a:gs pos="0">
                      <a:schemeClr val="tx2">
                        <a:lumMod val="50000"/>
                      </a:schemeClr>
                    </a:gs>
                    <a:gs pos="82000">
                      <a:schemeClr val="accent4"/>
                    </a:gs>
                    <a:gs pos="45000">
                      <a:schemeClr val="tx2"/>
                    </a:gs>
                  </a:gsLst>
                  <a:lin ang="13500000" scaled="1"/>
                </a:gradFill>
              </a:rPr>
              <a:t> </a:t>
            </a:r>
            <a:r>
              <a:rPr lang="en-GB" i="1" spc="0">
                <a:gradFill>
                  <a:gsLst>
                    <a:gs pos="0">
                      <a:schemeClr val="tx2">
                        <a:lumMod val="50000"/>
                      </a:schemeClr>
                    </a:gs>
                    <a:gs pos="82000">
                      <a:schemeClr val="accent4"/>
                    </a:gs>
                    <a:gs pos="45000">
                      <a:schemeClr val="tx2"/>
                    </a:gs>
                  </a:gsLst>
                  <a:lin ang="13500000" scaled="1"/>
                </a:gradFill>
              </a:rPr>
              <a:t>Work/Machine </a:t>
            </a:r>
            <a:r>
              <a:rPr lang="en-GB" i="1" spc="0" err="1">
                <a:gradFill>
                  <a:gsLst>
                    <a:gs pos="0">
                      <a:schemeClr val="tx2">
                        <a:lumMod val="50000"/>
                      </a:schemeClr>
                    </a:gs>
                    <a:gs pos="82000">
                      <a:schemeClr val="accent4"/>
                    </a:gs>
                    <a:gs pos="45000">
                      <a:schemeClr val="tx2"/>
                    </a:gs>
                  </a:gsLst>
                  <a:lin ang="13500000" scaled="1"/>
                </a:gradFill>
              </a:rPr>
              <a:t>Center</a:t>
            </a:r>
            <a:r>
              <a:rPr lang="en-GB" i="1" spc="0">
                <a:gradFill>
                  <a:gsLst>
                    <a:gs pos="0">
                      <a:schemeClr val="tx2">
                        <a:lumMod val="50000"/>
                      </a:schemeClr>
                    </a:gs>
                    <a:gs pos="82000">
                      <a:schemeClr val="accent4"/>
                    </a:gs>
                    <a:gs pos="45000">
                      <a:schemeClr val="tx2"/>
                    </a:gs>
                  </a:gsLst>
                  <a:lin ang="13500000" scaled="1"/>
                </a:gradFill>
              </a:rPr>
              <a:t> Load</a:t>
            </a:r>
            <a:r>
              <a:rPr lang="en-GB" i="1" spc="0"/>
              <a:t> </a:t>
            </a:r>
            <a:r>
              <a:rPr lang="en-GB" spc="0"/>
              <a:t>report</a:t>
            </a:r>
            <a:endParaRPr lang="en-US" spc="0"/>
          </a:p>
        </p:txBody>
      </p:sp>
      <p:sp>
        <p:nvSpPr>
          <p:cNvPr id="18" name="Text Placeholder 17">
            <a:extLst>
              <a:ext uri="{FF2B5EF4-FFF2-40B4-BE49-F238E27FC236}">
                <a16:creationId xmlns:a16="http://schemas.microsoft.com/office/drawing/2014/main" id="{2495547C-1353-52B8-EDF8-6DD093314485}"/>
              </a:ext>
            </a:extLst>
          </p:cNvPr>
          <p:cNvSpPr>
            <a:spLocks noGrp="1"/>
          </p:cNvSpPr>
          <p:nvPr>
            <p:ph type="body" sz="quarter" idx="10"/>
          </p:nvPr>
        </p:nvSpPr>
        <p:spPr>
          <a:xfrm>
            <a:off x="586390" y="1434370"/>
            <a:ext cx="5030639" cy="1969770"/>
          </a:xfrm>
        </p:spPr>
        <p:txBody>
          <a:bodyPr/>
          <a:lstStyle/>
          <a:p>
            <a:r>
              <a:rPr lang="en-GB" sz="3200">
                <a:ln w="3175">
                  <a:noFill/>
                </a:ln>
                <a:latin typeface="+mj-lt"/>
              </a:rPr>
              <a:t>Replacing </a:t>
            </a:r>
          </a:p>
          <a:p>
            <a:r>
              <a:rPr lang="en-GB" sz="2000">
                <a:ln w="3175">
                  <a:noFill/>
                </a:ln>
              </a:rPr>
              <a:t>Work </a:t>
            </a:r>
            <a:r>
              <a:rPr lang="en-GB" sz="2000" err="1">
                <a:ln w="3175">
                  <a:noFill/>
                </a:ln>
              </a:rPr>
              <a:t>Center</a:t>
            </a:r>
            <a:r>
              <a:rPr lang="en-GB" sz="2000">
                <a:ln w="3175">
                  <a:noFill/>
                </a:ln>
              </a:rPr>
              <a:t> Load</a:t>
            </a:r>
          </a:p>
          <a:p>
            <a:r>
              <a:rPr lang="en-GB" sz="2000">
                <a:ln w="3175">
                  <a:noFill/>
                </a:ln>
              </a:rPr>
              <a:t>Machine </a:t>
            </a:r>
            <a:r>
              <a:rPr lang="en-GB" sz="2000" err="1">
                <a:ln w="3175">
                  <a:noFill/>
                </a:ln>
              </a:rPr>
              <a:t>Center</a:t>
            </a:r>
            <a:r>
              <a:rPr lang="en-GB" sz="2000">
                <a:ln w="3175">
                  <a:noFill/>
                </a:ln>
              </a:rPr>
              <a:t> Load</a:t>
            </a:r>
          </a:p>
          <a:p>
            <a:r>
              <a:rPr lang="en-GB" sz="2000">
                <a:ln w="3175">
                  <a:noFill/>
                </a:ln>
              </a:rPr>
              <a:t>Work </a:t>
            </a:r>
            <a:r>
              <a:rPr lang="en-GB" sz="2000" err="1">
                <a:ln w="3175">
                  <a:noFill/>
                </a:ln>
              </a:rPr>
              <a:t>Center</a:t>
            </a:r>
            <a:r>
              <a:rPr lang="en-GB" sz="2000">
                <a:ln w="3175">
                  <a:noFill/>
                </a:ln>
              </a:rPr>
              <a:t> Load/Bar</a:t>
            </a:r>
          </a:p>
          <a:p>
            <a:r>
              <a:rPr lang="en-GB" sz="2000">
                <a:ln w="3175">
                  <a:noFill/>
                </a:ln>
              </a:rPr>
              <a:t>Machine </a:t>
            </a:r>
            <a:r>
              <a:rPr lang="en-GB" sz="2000" err="1">
                <a:ln w="3175">
                  <a:noFill/>
                </a:ln>
              </a:rPr>
              <a:t>Center</a:t>
            </a:r>
            <a:r>
              <a:rPr lang="en-GB" sz="2000">
                <a:ln w="3175">
                  <a:noFill/>
                </a:ln>
              </a:rPr>
              <a:t> Load/Bar</a:t>
            </a:r>
            <a:endParaRPr lang="en-GB" sz="2400">
              <a:ln w="3175">
                <a:noFill/>
              </a:ln>
            </a:endParaRPr>
          </a:p>
        </p:txBody>
      </p:sp>
      <p:pic>
        <p:nvPicPr>
          <p:cNvPr id="6" name="Picture 5">
            <a:extLst>
              <a:ext uri="{FF2B5EF4-FFF2-40B4-BE49-F238E27FC236}">
                <a16:creationId xmlns:a16="http://schemas.microsoft.com/office/drawing/2014/main" id="{64771C58-02B5-248E-610B-D62BBB444A52}"/>
              </a:ext>
            </a:extLst>
          </p:cNvPr>
          <p:cNvPicPr>
            <a:picLocks noChangeAspect="1"/>
          </p:cNvPicPr>
          <p:nvPr/>
        </p:nvPicPr>
        <p:blipFill>
          <a:blip r:embed="rId3"/>
          <a:srcRect r="17391"/>
          <a:stretch/>
        </p:blipFill>
        <p:spPr>
          <a:xfrm>
            <a:off x="3934047" y="1358481"/>
            <a:ext cx="7474688" cy="4733975"/>
          </a:xfrm>
          <a:prstGeom prst="rect">
            <a:avLst/>
          </a:prstGeom>
        </p:spPr>
      </p:pic>
    </p:spTree>
    <p:extLst>
      <p:ext uri="{BB962C8B-B14F-4D97-AF65-F5344CB8AC3E}">
        <p14:creationId xmlns:p14="http://schemas.microsoft.com/office/powerpoint/2010/main" val="156598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6711E-2865-F91E-1B68-107C554E9B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EC0342-144A-DFB1-A579-7C92C7659643}"/>
              </a:ext>
            </a:extLst>
          </p:cNvPr>
          <p:cNvSpPr>
            <a:spLocks noGrp="1"/>
          </p:cNvSpPr>
          <p:nvPr>
            <p:ph type="title"/>
          </p:nvPr>
        </p:nvSpPr>
        <p:spPr>
          <a:xfrm>
            <a:off x="588263" y="457200"/>
            <a:ext cx="11018520" cy="553998"/>
          </a:xfrm>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New manufacturing reports (26.2)</a:t>
            </a:r>
          </a:p>
        </p:txBody>
      </p:sp>
      <p:sp>
        <p:nvSpPr>
          <p:cNvPr id="18" name="Text Placeholder 17">
            <a:extLst>
              <a:ext uri="{FF2B5EF4-FFF2-40B4-BE49-F238E27FC236}">
                <a16:creationId xmlns:a16="http://schemas.microsoft.com/office/drawing/2014/main" id="{42562A20-C7C8-AC4F-27AA-42A6E587A6BF}"/>
              </a:ext>
            </a:extLst>
          </p:cNvPr>
          <p:cNvSpPr>
            <a:spLocks noGrp="1"/>
          </p:cNvSpPr>
          <p:nvPr>
            <p:ph type="body" sz="quarter" idx="10"/>
          </p:nvPr>
        </p:nvSpPr>
        <p:spPr>
          <a:xfrm>
            <a:off x="586390" y="1434370"/>
            <a:ext cx="11018520" cy="1083374"/>
          </a:xfrm>
        </p:spPr>
        <p:txBody>
          <a:bodyPr/>
          <a:lstStyle/>
          <a:p>
            <a:r>
              <a:rPr lang="en-US" sz="3200">
                <a:ln w="3175">
                  <a:noFill/>
                </a:ln>
                <a:latin typeface="+mj-lt"/>
              </a:rPr>
              <a:t>Production Cost Shares</a:t>
            </a:r>
          </a:p>
          <a:p>
            <a:r>
              <a:rPr lang="en-US" sz="3200">
                <a:ln w="3175">
                  <a:noFill/>
                </a:ln>
                <a:latin typeface="+mj-lt"/>
              </a:rPr>
              <a:t>Work/Machine Center Load</a:t>
            </a:r>
          </a:p>
        </p:txBody>
      </p:sp>
    </p:spTree>
    <p:extLst>
      <p:ext uri="{BB962C8B-B14F-4D97-AF65-F5344CB8AC3E}">
        <p14:creationId xmlns:p14="http://schemas.microsoft.com/office/powerpoint/2010/main" val="214803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5909D-C67C-F73E-B99D-66C6DD57C88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4B4BCB1-6B87-2589-562D-A3A23523FA22}"/>
              </a:ext>
            </a:extLst>
          </p:cNvPr>
          <p:cNvSpPr>
            <a:spLocks noGrp="1"/>
          </p:cNvSpPr>
          <p:nvPr>
            <p:ph type="title"/>
          </p:nvPr>
        </p:nvSpPr>
        <p:spPr>
          <a:xfrm>
            <a:off x="585216" y="1869828"/>
            <a:ext cx="4530748" cy="1661993"/>
          </a:xfrm>
        </p:spPr>
        <p:txBody>
          <a:bodyPr/>
          <a:lstStyle/>
          <a:p>
            <a:r>
              <a:rPr lang="en-US"/>
              <a:t>Obsolete</a:t>
            </a:r>
            <a:br>
              <a:rPr lang="en-US"/>
            </a:br>
            <a:r>
              <a:rPr lang="en-US"/>
              <a:t>Manufacturing reports</a:t>
            </a:r>
            <a:endParaRPr lang="en-GB"/>
          </a:p>
        </p:txBody>
      </p:sp>
      <p:sp>
        <p:nvSpPr>
          <p:cNvPr id="5" name="Text Placeholder 4">
            <a:extLst>
              <a:ext uri="{FF2B5EF4-FFF2-40B4-BE49-F238E27FC236}">
                <a16:creationId xmlns:a16="http://schemas.microsoft.com/office/drawing/2014/main" id="{9C388450-18BC-7716-83F8-C84A8B42FCA0}"/>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16298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36EF7-AA04-A94F-B685-733F249CC7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F9F757-4A29-AFEC-1BCF-2BDEF28B4DC5}"/>
              </a:ext>
            </a:extLst>
          </p:cNvPr>
          <p:cNvSpPr>
            <a:spLocks noGrp="1"/>
          </p:cNvSpPr>
          <p:nvPr>
            <p:ph type="title"/>
          </p:nvPr>
        </p:nvSpPr>
        <p:spPr>
          <a:xfrm>
            <a:off x="588263" y="457200"/>
            <a:ext cx="11018520" cy="553998"/>
          </a:xfrm>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Obsolete manufacturing reports (warning)</a:t>
            </a:r>
          </a:p>
        </p:txBody>
      </p:sp>
      <p:sp>
        <p:nvSpPr>
          <p:cNvPr id="18" name="Text Placeholder 17">
            <a:extLst>
              <a:ext uri="{FF2B5EF4-FFF2-40B4-BE49-F238E27FC236}">
                <a16:creationId xmlns:a16="http://schemas.microsoft.com/office/drawing/2014/main" id="{1C9499C2-9656-D1E8-EC19-C21573F28BFF}"/>
              </a:ext>
            </a:extLst>
          </p:cNvPr>
          <p:cNvSpPr>
            <a:spLocks noGrp="1"/>
          </p:cNvSpPr>
          <p:nvPr>
            <p:ph type="body" sz="quarter" idx="10"/>
          </p:nvPr>
        </p:nvSpPr>
        <p:spPr>
          <a:xfrm>
            <a:off x="586390" y="1434370"/>
            <a:ext cx="5030639" cy="4038029"/>
          </a:xfrm>
        </p:spPr>
        <p:txBody>
          <a:bodyPr/>
          <a:lstStyle/>
          <a:p>
            <a:r>
              <a:rPr lang="en-GB" sz="3200">
                <a:ln w="3175">
                  <a:noFill/>
                </a:ln>
                <a:latin typeface="+mj-lt"/>
              </a:rPr>
              <a:t>Rolled-up Cost Shares</a:t>
            </a:r>
          </a:p>
          <a:p>
            <a:r>
              <a:rPr lang="en-GB" sz="3200">
                <a:ln w="3175">
                  <a:noFill/>
                </a:ln>
                <a:latin typeface="+mj-lt"/>
              </a:rPr>
              <a:t>Single-level Cost Shares</a:t>
            </a:r>
          </a:p>
          <a:p>
            <a:r>
              <a:rPr lang="en-GB" sz="3200">
                <a:ln w="3175">
                  <a:noFill/>
                </a:ln>
                <a:latin typeface="+mj-lt"/>
              </a:rPr>
              <a:t>Detailed Calculation</a:t>
            </a:r>
          </a:p>
          <a:p>
            <a:r>
              <a:rPr lang="en-GB" sz="3200">
                <a:ln w="3175">
                  <a:noFill/>
                </a:ln>
                <a:latin typeface="+mj-lt"/>
              </a:rPr>
              <a:t>Compare List</a:t>
            </a:r>
          </a:p>
          <a:p>
            <a:r>
              <a:rPr lang="en-GB" sz="3200">
                <a:ln w="3175">
                  <a:noFill/>
                </a:ln>
                <a:latin typeface="+mj-lt"/>
              </a:rPr>
              <a:t>Work </a:t>
            </a:r>
            <a:r>
              <a:rPr lang="en-GB" sz="3200" err="1">
                <a:ln w="3175">
                  <a:noFill/>
                </a:ln>
                <a:latin typeface="+mj-lt"/>
              </a:rPr>
              <a:t>Center</a:t>
            </a:r>
            <a:r>
              <a:rPr lang="en-GB" sz="3200">
                <a:ln w="3175">
                  <a:noFill/>
                </a:ln>
                <a:latin typeface="+mj-lt"/>
              </a:rPr>
              <a:t> List</a:t>
            </a:r>
          </a:p>
          <a:p>
            <a:r>
              <a:rPr lang="en-GB" sz="3200">
                <a:ln w="3175">
                  <a:noFill/>
                </a:ln>
                <a:latin typeface="+mj-lt"/>
              </a:rPr>
              <a:t>Machine </a:t>
            </a:r>
            <a:r>
              <a:rPr lang="en-GB" sz="3200" err="1">
                <a:ln w="3175">
                  <a:noFill/>
                </a:ln>
                <a:latin typeface="+mj-lt"/>
              </a:rPr>
              <a:t>Center</a:t>
            </a:r>
            <a:r>
              <a:rPr lang="en-GB" sz="3200">
                <a:ln w="3175">
                  <a:noFill/>
                </a:ln>
                <a:latin typeface="+mj-lt"/>
              </a:rPr>
              <a:t> List</a:t>
            </a:r>
          </a:p>
          <a:p>
            <a:r>
              <a:rPr lang="en-GB" sz="3200">
                <a:ln w="3175">
                  <a:noFill/>
                </a:ln>
                <a:latin typeface="+mj-lt"/>
              </a:rPr>
              <a:t>Prod. Order - Calculation</a:t>
            </a:r>
          </a:p>
        </p:txBody>
      </p:sp>
      <p:sp>
        <p:nvSpPr>
          <p:cNvPr id="3" name="Text Placeholder 17">
            <a:extLst>
              <a:ext uri="{FF2B5EF4-FFF2-40B4-BE49-F238E27FC236}">
                <a16:creationId xmlns:a16="http://schemas.microsoft.com/office/drawing/2014/main" id="{83EBD429-5559-0B06-CBC1-0F4B7E239AF5}"/>
              </a:ext>
            </a:extLst>
          </p:cNvPr>
          <p:cNvSpPr txBox="1">
            <a:spLocks/>
          </p:cNvSpPr>
          <p:nvPr/>
        </p:nvSpPr>
        <p:spPr>
          <a:xfrm>
            <a:off x="6375915" y="1434370"/>
            <a:ext cx="5030639" cy="2265236"/>
          </a:xfrm>
          <a:prstGeom prst="rect">
            <a:avLst/>
          </a:prstGeom>
        </p:spPr>
        <p:txBody>
          <a:bodyPr vert="horz" wrap="square" lIns="18288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Work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Machine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Work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Bar</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Machine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Bar</a:t>
            </a:r>
          </a:p>
        </p:txBody>
      </p:sp>
    </p:spTree>
    <p:extLst>
      <p:ext uri="{BB962C8B-B14F-4D97-AF65-F5344CB8AC3E}">
        <p14:creationId xmlns:p14="http://schemas.microsoft.com/office/powerpoint/2010/main" val="117933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DCC23E-A46F-7A70-96C0-1C71A1322CCA}"/>
              </a:ext>
            </a:extLst>
          </p:cNvPr>
          <p:cNvSpPr>
            <a:spLocks noGrp="1"/>
          </p:cNvSpPr>
          <p:nvPr>
            <p:ph type="title"/>
          </p:nvPr>
        </p:nvSpPr>
        <p:spPr>
          <a:xfrm>
            <a:off x="588263" y="457200"/>
            <a:ext cx="11018520" cy="553998"/>
          </a:xfrm>
        </p:spPr>
        <p:txBody>
          <a:bodyPr/>
          <a:lstStyle/>
          <a:p>
            <a:r>
              <a:rPr lang="en-US">
                <a:solidFill>
                  <a:schemeClr val="accent1">
                    <a:lumMod val="75000"/>
                  </a:schemeClr>
                </a:solidFill>
              </a:rPr>
              <a:t>Finance </a:t>
            </a:r>
            <a:r>
              <a:rPr lang="en-US"/>
              <a:t>Excel reports now generally available</a:t>
            </a:r>
            <a:endParaRPr lang="en-GB"/>
          </a:p>
        </p:txBody>
      </p:sp>
      <p:sp>
        <p:nvSpPr>
          <p:cNvPr id="5" name="Text Placeholder 4">
            <a:extLst>
              <a:ext uri="{FF2B5EF4-FFF2-40B4-BE49-F238E27FC236}">
                <a16:creationId xmlns:a16="http://schemas.microsoft.com/office/drawing/2014/main" id="{361BA3C3-6468-04E9-8376-DB41A8D94E31}"/>
              </a:ext>
            </a:extLst>
          </p:cNvPr>
          <p:cNvSpPr>
            <a:spLocks noGrp="1"/>
          </p:cNvSpPr>
          <p:nvPr>
            <p:ph type="body" sz="quarter" idx="10"/>
          </p:nvPr>
        </p:nvSpPr>
        <p:spPr>
          <a:xfrm>
            <a:off x="586390" y="1434370"/>
            <a:ext cx="11018520" cy="5084469"/>
          </a:xfrm>
        </p:spPr>
        <p:txBody>
          <a:bodyPr/>
          <a:lstStyle/>
          <a:p>
            <a:r>
              <a:rPr lang="en-US"/>
              <a:t>Trial balance</a:t>
            </a:r>
          </a:p>
          <a:p>
            <a:r>
              <a:rPr lang="en-US"/>
              <a:t>Trial balance/budget</a:t>
            </a:r>
          </a:p>
          <a:p>
            <a:r>
              <a:rPr lang="en-US"/>
              <a:t>Trial balance by period</a:t>
            </a:r>
          </a:p>
          <a:p>
            <a:r>
              <a:rPr lang="en-US"/>
              <a:t>Trial balance/previous year</a:t>
            </a:r>
          </a:p>
          <a:p>
            <a:endParaRPr lang="en-US"/>
          </a:p>
          <a:p>
            <a:r>
              <a:rPr lang="en-US"/>
              <a:t>Consolidated trial balance</a:t>
            </a:r>
          </a:p>
          <a:p>
            <a:endParaRPr lang="en-US"/>
          </a:p>
          <a:p>
            <a:r>
              <a:rPr lang="en-US"/>
              <a:t>Aged Accounts Receivable</a:t>
            </a:r>
          </a:p>
          <a:p>
            <a:r>
              <a:rPr lang="en-US"/>
              <a:t>Aged Accounts Payables</a:t>
            </a:r>
          </a:p>
          <a:p>
            <a:endParaRPr lang="en-US"/>
          </a:p>
        </p:txBody>
      </p:sp>
    </p:spTree>
    <p:extLst>
      <p:ext uri="{BB962C8B-B14F-4D97-AF65-F5344CB8AC3E}">
        <p14:creationId xmlns:p14="http://schemas.microsoft.com/office/powerpoint/2010/main" val="280981816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1022D-7481-EEF7-269D-6816FDAE0C3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828FCD7-5839-0C4B-26B7-BAE804A82789}"/>
              </a:ext>
            </a:extLst>
          </p:cNvPr>
          <p:cNvSpPr>
            <a:spLocks noGrp="1"/>
          </p:cNvSpPr>
          <p:nvPr>
            <p:ph type="title"/>
          </p:nvPr>
        </p:nvSpPr>
        <p:spPr>
          <a:xfrm>
            <a:off x="588262" y="457200"/>
            <a:ext cx="11348633" cy="1046440"/>
          </a:xfrm>
        </p:spPr>
        <p:txBody>
          <a:bodyPr/>
          <a:lstStyle/>
          <a:p>
            <a:r>
              <a:rPr lang="en-US" sz="3400">
                <a:solidFill>
                  <a:schemeClr val="accent1">
                    <a:lumMod val="75000"/>
                  </a:schemeClr>
                </a:solidFill>
              </a:rPr>
              <a:t>Sales</a:t>
            </a:r>
            <a:r>
              <a:rPr lang="en-US" sz="3400"/>
              <a:t> and </a:t>
            </a:r>
            <a:r>
              <a:rPr lang="en-US" sz="3400">
                <a:solidFill>
                  <a:schemeClr val="accent1">
                    <a:lumMod val="75000"/>
                  </a:schemeClr>
                </a:solidFill>
              </a:rPr>
              <a:t>purchasing </a:t>
            </a:r>
            <a:r>
              <a:rPr lang="en-US" sz="3400"/>
              <a:t>Excel reports now generally available</a:t>
            </a:r>
            <a:endParaRPr lang="en-GB" sz="3400"/>
          </a:p>
        </p:txBody>
      </p:sp>
      <p:sp>
        <p:nvSpPr>
          <p:cNvPr id="5" name="Text Placeholder 4">
            <a:extLst>
              <a:ext uri="{FF2B5EF4-FFF2-40B4-BE49-F238E27FC236}">
                <a16:creationId xmlns:a16="http://schemas.microsoft.com/office/drawing/2014/main" id="{95F12F74-6C84-661F-E53C-01C2113EA79D}"/>
              </a:ext>
            </a:extLst>
          </p:cNvPr>
          <p:cNvSpPr>
            <a:spLocks noGrp="1"/>
          </p:cNvSpPr>
          <p:nvPr>
            <p:ph type="body" sz="quarter" idx="10"/>
          </p:nvPr>
        </p:nvSpPr>
        <p:spPr>
          <a:xfrm>
            <a:off x="586390" y="1434370"/>
            <a:ext cx="11018520" cy="2499146"/>
          </a:xfrm>
        </p:spPr>
        <p:txBody>
          <a:bodyPr/>
          <a:lstStyle/>
          <a:p>
            <a:r>
              <a:rPr lang="en-US"/>
              <a:t>Customer - Top 10 List</a:t>
            </a:r>
          </a:p>
          <a:p>
            <a:r>
              <a:rPr lang="en-US"/>
              <a:t>Vendor - Top 10 List</a:t>
            </a:r>
          </a:p>
          <a:p>
            <a:endParaRPr lang="en-US"/>
          </a:p>
          <a:p>
            <a:r>
              <a:rPr lang="en-US"/>
              <a:t>(Aged Accounts Receivable)</a:t>
            </a:r>
          </a:p>
          <a:p>
            <a:r>
              <a:rPr lang="en-US"/>
              <a:t>(Aged Accounts Payables)</a:t>
            </a:r>
          </a:p>
        </p:txBody>
      </p:sp>
    </p:spTree>
    <p:extLst>
      <p:ext uri="{BB962C8B-B14F-4D97-AF65-F5344CB8AC3E}">
        <p14:creationId xmlns:p14="http://schemas.microsoft.com/office/powerpoint/2010/main" val="110966748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1DC54-6994-6091-0002-E4539271A97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9F023C9-ABA2-633B-886A-CFCECD701A41}"/>
              </a:ext>
            </a:extLst>
          </p:cNvPr>
          <p:cNvSpPr>
            <a:spLocks noGrp="1"/>
          </p:cNvSpPr>
          <p:nvPr>
            <p:ph type="title"/>
          </p:nvPr>
        </p:nvSpPr>
        <p:spPr>
          <a:xfrm>
            <a:off x="588262" y="457200"/>
            <a:ext cx="11348633" cy="523220"/>
          </a:xfrm>
        </p:spPr>
        <p:txBody>
          <a:bodyPr/>
          <a:lstStyle/>
          <a:p>
            <a:r>
              <a:rPr lang="en-US" sz="3400">
                <a:solidFill>
                  <a:schemeClr val="accent1">
                    <a:lumMod val="75000"/>
                  </a:schemeClr>
                </a:solidFill>
              </a:rPr>
              <a:t>Sales</a:t>
            </a:r>
            <a:r>
              <a:rPr lang="en-US" sz="3400"/>
              <a:t> and </a:t>
            </a:r>
            <a:r>
              <a:rPr lang="en-US" sz="3400">
                <a:solidFill>
                  <a:schemeClr val="accent1">
                    <a:lumMod val="75000"/>
                  </a:schemeClr>
                </a:solidFill>
              </a:rPr>
              <a:t>purchasing </a:t>
            </a:r>
            <a:r>
              <a:rPr lang="en-US" sz="3400"/>
              <a:t>data analysis (26.1)</a:t>
            </a:r>
            <a:endParaRPr lang="en-GB" sz="3400"/>
          </a:p>
        </p:txBody>
      </p:sp>
      <p:sp>
        <p:nvSpPr>
          <p:cNvPr id="5" name="Text Placeholder 4">
            <a:extLst>
              <a:ext uri="{FF2B5EF4-FFF2-40B4-BE49-F238E27FC236}">
                <a16:creationId xmlns:a16="http://schemas.microsoft.com/office/drawing/2014/main" id="{E6CC8C7A-F410-E5AD-8B7F-9E40648C6ADB}"/>
              </a:ext>
            </a:extLst>
          </p:cNvPr>
          <p:cNvSpPr>
            <a:spLocks noGrp="1"/>
          </p:cNvSpPr>
          <p:nvPr>
            <p:ph type="body" sz="quarter" idx="10"/>
          </p:nvPr>
        </p:nvSpPr>
        <p:spPr>
          <a:xfrm>
            <a:off x="586390" y="1434370"/>
            <a:ext cx="11018520" cy="1465016"/>
          </a:xfrm>
        </p:spPr>
        <p:txBody>
          <a:bodyPr/>
          <a:lstStyle/>
          <a:p>
            <a:r>
              <a:rPr lang="en-US"/>
              <a:t>Sales Order Performance Analysis (query)</a:t>
            </a:r>
          </a:p>
          <a:p>
            <a:endParaRPr lang="en-US"/>
          </a:p>
          <a:p>
            <a:r>
              <a:rPr lang="en-US"/>
              <a:t>Purchase Order Performance Analysis (query)</a:t>
            </a:r>
          </a:p>
        </p:txBody>
      </p:sp>
    </p:spTree>
    <p:extLst>
      <p:ext uri="{BB962C8B-B14F-4D97-AF65-F5344CB8AC3E}">
        <p14:creationId xmlns:p14="http://schemas.microsoft.com/office/powerpoint/2010/main" val="6492820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121CF-D71E-210E-D02C-33AD8438D1E8}"/>
              </a:ext>
            </a:extLst>
          </p:cNvPr>
          <p:cNvSpPr>
            <a:spLocks noGrp="1"/>
          </p:cNvSpPr>
          <p:nvPr>
            <p:ph type="title"/>
          </p:nvPr>
        </p:nvSpPr>
        <p:spPr/>
        <p:txBody>
          <a:bodyPr/>
          <a:lstStyle/>
          <a:p>
            <a:r>
              <a:rPr lang="en-US"/>
              <a:t>Demo</a:t>
            </a:r>
            <a:endParaRPr lang="en-GB"/>
          </a:p>
        </p:txBody>
      </p:sp>
      <p:sp>
        <p:nvSpPr>
          <p:cNvPr id="3" name="Text Placeholder 2">
            <a:extLst>
              <a:ext uri="{FF2B5EF4-FFF2-40B4-BE49-F238E27FC236}">
                <a16:creationId xmlns:a16="http://schemas.microsoft.com/office/drawing/2014/main" id="{34CCA714-F3F5-1174-F0E3-3C3C764A767C}"/>
              </a:ext>
            </a:extLst>
          </p:cNvPr>
          <p:cNvSpPr>
            <a:spLocks noGrp="1"/>
          </p:cNvSpPr>
          <p:nvPr>
            <p:ph type="body" sz="quarter" idx="12"/>
          </p:nvPr>
        </p:nvSpPr>
        <p:spPr/>
        <p:txBody>
          <a:bodyPr/>
          <a:lstStyle/>
          <a:p>
            <a:r>
              <a:rPr lang="en-US"/>
              <a:t>Enhanced report explorer in 2025 release wave 1</a:t>
            </a:r>
            <a:endParaRPr lang="en-GB"/>
          </a:p>
        </p:txBody>
      </p:sp>
    </p:spTree>
    <p:extLst>
      <p:ext uri="{BB962C8B-B14F-4D97-AF65-F5344CB8AC3E}">
        <p14:creationId xmlns:p14="http://schemas.microsoft.com/office/powerpoint/2010/main" val="143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05AB2-45BE-4158-1D1C-3468E7BA8DA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6A83D77-0B4B-03B7-1962-F335EB3E77BB}"/>
              </a:ext>
            </a:extLst>
          </p:cNvPr>
          <p:cNvSpPr>
            <a:spLocks noGrp="1"/>
          </p:cNvSpPr>
          <p:nvPr>
            <p:ph type="title"/>
          </p:nvPr>
        </p:nvSpPr>
        <p:spPr>
          <a:xfrm>
            <a:off x="588263" y="457200"/>
            <a:ext cx="11018520" cy="553998"/>
          </a:xfrm>
        </p:spPr>
        <p:txBody>
          <a:bodyPr/>
          <a:lstStyle/>
          <a:p>
            <a:r>
              <a:rPr lang="en-US">
                <a:solidFill>
                  <a:schemeClr val="accent1">
                    <a:lumMod val="75000"/>
                  </a:schemeClr>
                </a:solidFill>
              </a:rPr>
              <a:t>Fixed assets </a:t>
            </a:r>
            <a:r>
              <a:rPr lang="en-US"/>
              <a:t>Excel reports now generally available</a:t>
            </a:r>
            <a:endParaRPr lang="en-GB"/>
          </a:p>
        </p:txBody>
      </p:sp>
      <p:sp>
        <p:nvSpPr>
          <p:cNvPr id="5" name="Text Placeholder 4">
            <a:extLst>
              <a:ext uri="{FF2B5EF4-FFF2-40B4-BE49-F238E27FC236}">
                <a16:creationId xmlns:a16="http://schemas.microsoft.com/office/drawing/2014/main" id="{DA634B10-93FB-25CD-F930-DEF656DAC6A8}"/>
              </a:ext>
            </a:extLst>
          </p:cNvPr>
          <p:cNvSpPr>
            <a:spLocks noGrp="1"/>
          </p:cNvSpPr>
          <p:nvPr>
            <p:ph type="body" sz="quarter" idx="10"/>
          </p:nvPr>
        </p:nvSpPr>
        <p:spPr>
          <a:xfrm>
            <a:off x="586390" y="1434370"/>
            <a:ext cx="11018520" cy="1465016"/>
          </a:xfrm>
        </p:spPr>
        <p:txBody>
          <a:bodyPr/>
          <a:lstStyle/>
          <a:p>
            <a:r>
              <a:rPr lang="en-US"/>
              <a:t>Fixed Asset Analysis</a:t>
            </a:r>
          </a:p>
          <a:p>
            <a:r>
              <a:rPr lang="en-US"/>
              <a:t>Fixed Asset Details</a:t>
            </a:r>
          </a:p>
          <a:p>
            <a:r>
              <a:rPr lang="en-US"/>
              <a:t>Fixed Asset Projected Value</a:t>
            </a:r>
          </a:p>
        </p:txBody>
      </p:sp>
    </p:spTree>
    <p:extLst>
      <p:ext uri="{BB962C8B-B14F-4D97-AF65-F5344CB8AC3E}">
        <p14:creationId xmlns:p14="http://schemas.microsoft.com/office/powerpoint/2010/main" val="351910424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5201A-E222-59BD-AC51-BD9B3794CCB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60C720B-02F4-DF4A-191B-C6677A8FD896}"/>
              </a:ext>
            </a:extLst>
          </p:cNvPr>
          <p:cNvSpPr>
            <a:spLocks noGrp="1"/>
          </p:cNvSpPr>
          <p:nvPr>
            <p:ph type="title"/>
          </p:nvPr>
        </p:nvSpPr>
        <p:spPr>
          <a:xfrm>
            <a:off x="588262" y="457200"/>
            <a:ext cx="11348633" cy="523220"/>
          </a:xfrm>
        </p:spPr>
        <p:txBody>
          <a:bodyPr/>
          <a:lstStyle/>
          <a:p>
            <a:r>
              <a:rPr lang="en-US" sz="3200">
                <a:solidFill>
                  <a:schemeClr val="accent1">
                    <a:lumMod val="75000"/>
                  </a:schemeClr>
                </a:solidFill>
              </a:rPr>
              <a:t>Fixed assets</a:t>
            </a:r>
            <a:r>
              <a:rPr lang="en-US" sz="3400">
                <a:solidFill>
                  <a:schemeClr val="accent1">
                    <a:lumMod val="75000"/>
                  </a:schemeClr>
                </a:solidFill>
              </a:rPr>
              <a:t> </a:t>
            </a:r>
            <a:r>
              <a:rPr lang="en-US" sz="3400"/>
              <a:t>data analysis (25.3)</a:t>
            </a:r>
            <a:endParaRPr lang="en-GB" sz="3400"/>
          </a:p>
        </p:txBody>
      </p:sp>
      <p:sp>
        <p:nvSpPr>
          <p:cNvPr id="5" name="Text Placeholder 4">
            <a:extLst>
              <a:ext uri="{FF2B5EF4-FFF2-40B4-BE49-F238E27FC236}">
                <a16:creationId xmlns:a16="http://schemas.microsoft.com/office/drawing/2014/main" id="{48A98C18-6C40-D262-634E-975A98BBF70A}"/>
              </a:ext>
            </a:extLst>
          </p:cNvPr>
          <p:cNvSpPr>
            <a:spLocks noGrp="1"/>
          </p:cNvSpPr>
          <p:nvPr>
            <p:ph type="body" sz="quarter" idx="10"/>
          </p:nvPr>
        </p:nvSpPr>
        <p:spPr>
          <a:xfrm>
            <a:off x="586390" y="1434370"/>
            <a:ext cx="11018520" cy="430887"/>
          </a:xfrm>
        </p:spPr>
        <p:txBody>
          <a:bodyPr/>
          <a:lstStyle/>
          <a:p>
            <a:r>
              <a:rPr lang="en-US"/>
              <a:t>Fixed Assets Ad-hoc Analysis (query)</a:t>
            </a:r>
          </a:p>
        </p:txBody>
      </p:sp>
    </p:spTree>
    <p:extLst>
      <p:ext uri="{BB962C8B-B14F-4D97-AF65-F5344CB8AC3E}">
        <p14:creationId xmlns:p14="http://schemas.microsoft.com/office/powerpoint/2010/main" val="284786942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24FC0-4920-E5FA-70E0-11E04E2A25F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273BAC5-7132-C7D5-5E31-3EA7ACE2F667}"/>
              </a:ext>
            </a:extLst>
          </p:cNvPr>
          <p:cNvSpPr>
            <a:spLocks noGrp="1"/>
          </p:cNvSpPr>
          <p:nvPr>
            <p:ph type="title"/>
          </p:nvPr>
        </p:nvSpPr>
        <p:spPr>
          <a:xfrm>
            <a:off x="588263" y="457200"/>
            <a:ext cx="11018520" cy="553998"/>
          </a:xfrm>
        </p:spPr>
        <p:txBody>
          <a:bodyPr/>
          <a:lstStyle/>
          <a:p>
            <a:r>
              <a:rPr lang="en-US">
                <a:solidFill>
                  <a:schemeClr val="accent1">
                    <a:lumMod val="75000"/>
                  </a:schemeClr>
                </a:solidFill>
              </a:rPr>
              <a:t>Sustainability </a:t>
            </a:r>
            <a:r>
              <a:rPr lang="en-US"/>
              <a:t>Excel reports (updated layouts)</a:t>
            </a:r>
            <a:endParaRPr lang="en-GB"/>
          </a:p>
        </p:txBody>
      </p:sp>
      <p:sp>
        <p:nvSpPr>
          <p:cNvPr id="5" name="Text Placeholder 4">
            <a:extLst>
              <a:ext uri="{FF2B5EF4-FFF2-40B4-BE49-F238E27FC236}">
                <a16:creationId xmlns:a16="http://schemas.microsoft.com/office/drawing/2014/main" id="{238549E4-3896-FA10-C058-0EA008ED386A}"/>
              </a:ext>
            </a:extLst>
          </p:cNvPr>
          <p:cNvSpPr>
            <a:spLocks noGrp="1"/>
          </p:cNvSpPr>
          <p:nvPr>
            <p:ph type="body" sz="quarter" idx="10"/>
          </p:nvPr>
        </p:nvSpPr>
        <p:spPr>
          <a:xfrm>
            <a:off x="586390" y="1434370"/>
            <a:ext cx="11018520" cy="1465016"/>
          </a:xfrm>
        </p:spPr>
        <p:txBody>
          <a:bodyPr/>
          <a:lstStyle/>
          <a:p>
            <a:r>
              <a:rPr lang="en-US"/>
              <a:t>Total Emissions</a:t>
            </a:r>
          </a:p>
          <a:p>
            <a:r>
              <a:rPr lang="en-US"/>
              <a:t>Emission by Category</a:t>
            </a:r>
          </a:p>
          <a:p>
            <a:r>
              <a:rPr lang="en-US"/>
              <a:t>Emission Per Facility</a:t>
            </a:r>
          </a:p>
        </p:txBody>
      </p:sp>
    </p:spTree>
    <p:extLst>
      <p:ext uri="{BB962C8B-B14F-4D97-AF65-F5344CB8AC3E}">
        <p14:creationId xmlns:p14="http://schemas.microsoft.com/office/powerpoint/2010/main" val="411862789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B0875-0BEF-C368-7A7A-EEDA52A874A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AC5210F-45DD-DB23-1E9A-4AF95C08D140}"/>
              </a:ext>
            </a:extLst>
          </p:cNvPr>
          <p:cNvSpPr>
            <a:spLocks noGrp="1"/>
          </p:cNvSpPr>
          <p:nvPr>
            <p:ph type="title"/>
          </p:nvPr>
        </p:nvSpPr>
        <p:spPr/>
        <p:txBody>
          <a:bodyPr/>
          <a:lstStyle/>
          <a:p>
            <a:r>
              <a:rPr lang="en-GB"/>
              <a:t>Legacy Excel reports have been obsoleted</a:t>
            </a:r>
          </a:p>
        </p:txBody>
      </p:sp>
      <p:sp>
        <p:nvSpPr>
          <p:cNvPr id="10" name="Text Placeholder 9">
            <a:extLst>
              <a:ext uri="{FF2B5EF4-FFF2-40B4-BE49-F238E27FC236}">
                <a16:creationId xmlns:a16="http://schemas.microsoft.com/office/drawing/2014/main" id="{8593B26E-298C-A3BA-B2FA-045A2FE8C2B4}"/>
              </a:ext>
            </a:extLst>
          </p:cNvPr>
          <p:cNvSpPr>
            <a:spLocks noGrp="1"/>
          </p:cNvSpPr>
          <p:nvPr>
            <p:ph type="body" sz="quarter" idx="10"/>
          </p:nvPr>
        </p:nvSpPr>
        <p:spPr>
          <a:xfrm>
            <a:off x="586390" y="1434370"/>
            <a:ext cx="11018520" cy="4050340"/>
          </a:xfrm>
        </p:spPr>
        <p:txBody>
          <a:bodyPr/>
          <a:lstStyle/>
          <a:p>
            <a:r>
              <a:rPr lang="en-GB"/>
              <a:t>Balance Sheet</a:t>
            </a:r>
          </a:p>
          <a:p>
            <a:r>
              <a:rPr lang="en-GB"/>
              <a:t>Income Statement</a:t>
            </a:r>
          </a:p>
          <a:p>
            <a:r>
              <a:rPr lang="en-GB"/>
              <a:t>Statement of Cash Flow</a:t>
            </a:r>
          </a:p>
          <a:p>
            <a:r>
              <a:rPr lang="en-GB"/>
              <a:t>Statement of Retained Earnings</a:t>
            </a:r>
          </a:p>
          <a:p>
            <a:r>
              <a:rPr lang="en-GB"/>
              <a:t>Sales Taxes Collected</a:t>
            </a:r>
          </a:p>
          <a:p>
            <a:r>
              <a:rPr lang="en-GB"/>
              <a:t>Customer Statements</a:t>
            </a:r>
          </a:p>
          <a:p>
            <a:r>
              <a:rPr lang="en-GB"/>
              <a:t>Aged Accounts Payable</a:t>
            </a:r>
          </a:p>
          <a:p>
            <a:r>
              <a:rPr lang="en-GB"/>
              <a:t>Aged Accounts Receivable</a:t>
            </a:r>
          </a:p>
        </p:txBody>
      </p:sp>
    </p:spTree>
    <p:extLst>
      <p:ext uri="{BB962C8B-B14F-4D97-AF65-F5344CB8AC3E}">
        <p14:creationId xmlns:p14="http://schemas.microsoft.com/office/powerpoint/2010/main" val="64906063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6FD24-6166-F31B-8C9B-A32A1AE85E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B491F-D2BB-4F29-BE95-13A2C8A2CCCC}"/>
              </a:ext>
            </a:extLst>
          </p:cNvPr>
          <p:cNvSpPr>
            <a:spLocks noGrp="1"/>
          </p:cNvSpPr>
          <p:nvPr>
            <p:ph type="title"/>
          </p:nvPr>
        </p:nvSpPr>
        <p:spPr/>
        <p:txBody>
          <a:bodyPr/>
          <a:lstStyle/>
          <a:p>
            <a:r>
              <a:rPr lang="en-GB"/>
              <a:t>Reports that have been obsoleted</a:t>
            </a:r>
          </a:p>
        </p:txBody>
      </p:sp>
      <p:sp>
        <p:nvSpPr>
          <p:cNvPr id="2" name="Text Placeholder 1">
            <a:extLst>
              <a:ext uri="{FF2B5EF4-FFF2-40B4-BE49-F238E27FC236}">
                <a16:creationId xmlns:a16="http://schemas.microsoft.com/office/drawing/2014/main" id="{F5601513-D1A4-2C31-7797-CBD9CA5FBBF0}"/>
              </a:ext>
            </a:extLst>
          </p:cNvPr>
          <p:cNvSpPr>
            <a:spLocks noGrp="1"/>
          </p:cNvSpPr>
          <p:nvPr>
            <p:ph type="body" sz="quarter" idx="10"/>
          </p:nvPr>
        </p:nvSpPr>
        <p:spPr>
          <a:xfrm>
            <a:off x="584200" y="1435100"/>
            <a:ext cx="5212080" cy="4832092"/>
          </a:xfrm>
        </p:spPr>
        <p:txBody>
          <a:bodyPr/>
          <a:lstStyle/>
          <a:p>
            <a:r>
              <a:rPr lang="en-GB">
                <a:latin typeface="+mn-lt"/>
              </a:rPr>
              <a:t>Finance reports</a:t>
            </a:r>
          </a:p>
          <a:p>
            <a:pPr marL="457200" indent="-457200">
              <a:buFont typeface="Arial" panose="020B0604020202020204" pitchFamily="34" charset="0"/>
              <a:buChar char="•"/>
            </a:pPr>
            <a:r>
              <a:rPr lang="en-GB" sz="2000">
                <a:latin typeface="+mn-lt"/>
              </a:rPr>
              <a:t>Aged Accounts Receivables (Legacy)</a:t>
            </a:r>
          </a:p>
          <a:p>
            <a:pPr marL="457200" indent="-457200">
              <a:buFont typeface="Arial" panose="020B0604020202020204" pitchFamily="34" charset="0"/>
              <a:buChar char="•"/>
            </a:pPr>
            <a:r>
              <a:rPr lang="en-GB" sz="2000">
                <a:latin typeface="+mn-lt"/>
              </a:rPr>
              <a:t>Aged Accounts Payable (legacy)</a:t>
            </a:r>
          </a:p>
          <a:p>
            <a:pPr marL="457200" indent="-457200">
              <a:buFont typeface="Arial" panose="020B0604020202020204" pitchFamily="34" charset="0"/>
              <a:buChar char="•"/>
            </a:pPr>
            <a:r>
              <a:rPr lang="en-GB" sz="2000">
                <a:latin typeface="+mn-lt"/>
              </a:rPr>
              <a:t>Trial Balance (legacy)</a:t>
            </a:r>
          </a:p>
          <a:p>
            <a:pPr marL="457200" indent="-457200">
              <a:buFont typeface="Arial" panose="020B0604020202020204" pitchFamily="34" charset="0"/>
              <a:buChar char="•"/>
            </a:pPr>
            <a:r>
              <a:rPr lang="en-GB" sz="2000">
                <a:latin typeface="+mn-lt"/>
              </a:rPr>
              <a:t>Trial Balance/Budget (legacy)</a:t>
            </a:r>
            <a:endParaRPr lang="en-GB">
              <a:latin typeface="+mn-lt"/>
            </a:endParaRPr>
          </a:p>
          <a:p>
            <a:endParaRPr lang="en-GB">
              <a:latin typeface="+mn-lt"/>
            </a:endParaRPr>
          </a:p>
          <a:p>
            <a:r>
              <a:rPr lang="en-GB">
                <a:latin typeface="+mn-lt"/>
              </a:rPr>
              <a:t>Fixed Assets reports</a:t>
            </a:r>
          </a:p>
          <a:p>
            <a:pPr marL="457200" indent="-457200">
              <a:buFont typeface="Arial" panose="020B0604020202020204" pitchFamily="34" charset="0"/>
              <a:buChar char="•"/>
            </a:pPr>
            <a:r>
              <a:rPr lang="en-GB" sz="2000">
                <a:latin typeface="+mn-lt"/>
              </a:rPr>
              <a:t>Fixed Asset Analysis (legacy)</a:t>
            </a:r>
          </a:p>
          <a:p>
            <a:pPr marL="457200" indent="-457200">
              <a:buFont typeface="Arial" panose="020B0604020202020204" pitchFamily="34" charset="0"/>
              <a:buChar char="•"/>
            </a:pPr>
            <a:r>
              <a:rPr lang="en-GB" sz="2000">
                <a:latin typeface="+mn-lt"/>
              </a:rPr>
              <a:t>Fixed Asset Details (legacy)</a:t>
            </a:r>
          </a:p>
          <a:p>
            <a:pPr marL="457200" indent="-457200">
              <a:buFont typeface="Arial" panose="020B0604020202020204" pitchFamily="34" charset="0"/>
              <a:buChar char="•"/>
            </a:pPr>
            <a:r>
              <a:rPr lang="en-GB" sz="2000">
                <a:latin typeface="+mn-lt"/>
              </a:rPr>
              <a:t>Fixed Asset Projected Value (legacy)</a:t>
            </a:r>
            <a:endParaRPr lang="en-GB">
              <a:latin typeface="+mn-lt"/>
            </a:endParaRPr>
          </a:p>
        </p:txBody>
      </p:sp>
      <p:sp>
        <p:nvSpPr>
          <p:cNvPr id="3" name="Text Placeholder 2">
            <a:extLst>
              <a:ext uri="{FF2B5EF4-FFF2-40B4-BE49-F238E27FC236}">
                <a16:creationId xmlns:a16="http://schemas.microsoft.com/office/drawing/2014/main" id="{69696C17-1109-475F-6B32-B4DFCA8E2F27}"/>
              </a:ext>
            </a:extLst>
          </p:cNvPr>
          <p:cNvSpPr>
            <a:spLocks noGrp="1"/>
          </p:cNvSpPr>
          <p:nvPr>
            <p:ph type="body" sz="quarter" idx="12"/>
          </p:nvPr>
        </p:nvSpPr>
        <p:spPr>
          <a:xfrm>
            <a:off x="6397171" y="1435100"/>
            <a:ext cx="5212080" cy="4739759"/>
          </a:xfrm>
        </p:spPr>
        <p:txBody>
          <a:bodyPr/>
          <a:lstStyle/>
          <a:p>
            <a:r>
              <a:rPr lang="en-GB">
                <a:latin typeface="+mn-lt"/>
              </a:rPr>
              <a:t>Sales reports</a:t>
            </a:r>
          </a:p>
          <a:p>
            <a:pPr marL="457200" indent="-457200">
              <a:buFont typeface="Arial" panose="020B0604020202020204" pitchFamily="34" charset="0"/>
              <a:buChar char="•"/>
            </a:pPr>
            <a:r>
              <a:rPr lang="en-GB" sz="2000">
                <a:latin typeface="+mn-lt"/>
              </a:rPr>
              <a:t>Customer - Top 10 List (legacy)</a:t>
            </a:r>
          </a:p>
          <a:p>
            <a:endParaRPr lang="en-GB">
              <a:latin typeface="+mn-lt"/>
            </a:endParaRPr>
          </a:p>
          <a:p>
            <a:r>
              <a:rPr lang="en-GB">
                <a:latin typeface="+mn-lt"/>
              </a:rPr>
              <a:t>Purchasing reports</a:t>
            </a:r>
          </a:p>
          <a:p>
            <a:pPr marL="457200" indent="-457200">
              <a:buFont typeface="Arial" panose="020B0604020202020204" pitchFamily="34" charset="0"/>
              <a:buChar char="•"/>
            </a:pPr>
            <a:r>
              <a:rPr lang="en-GB" sz="2000">
                <a:latin typeface="+mn-lt"/>
              </a:rPr>
              <a:t>Vendor - List (legacy)</a:t>
            </a:r>
          </a:p>
          <a:p>
            <a:pPr marL="457200" indent="-457200">
              <a:buFont typeface="Arial" panose="020B0604020202020204" pitchFamily="34" charset="0"/>
              <a:buChar char="•"/>
            </a:pPr>
            <a:r>
              <a:rPr lang="en-GB" sz="2000">
                <a:latin typeface="+mn-lt"/>
              </a:rPr>
              <a:t>Vendor - Summary Aging (legacy)</a:t>
            </a:r>
            <a:endParaRPr lang="en-GB">
              <a:latin typeface="+mn-lt"/>
            </a:endParaRPr>
          </a:p>
          <a:p>
            <a:endParaRPr lang="en-GB"/>
          </a:p>
          <a:p>
            <a:r>
              <a:rPr lang="en-GB"/>
              <a:t>Manufacturing reports</a:t>
            </a:r>
          </a:p>
          <a:p>
            <a:pPr marL="457200" indent="-457200">
              <a:buFont typeface="Arial" panose="020B0604020202020204" pitchFamily="34" charset="0"/>
              <a:buChar char="•"/>
            </a:pPr>
            <a:r>
              <a:rPr lang="en-GB" sz="2000"/>
              <a:t>See other video</a:t>
            </a:r>
          </a:p>
        </p:txBody>
      </p:sp>
    </p:spTree>
    <p:extLst>
      <p:ext uri="{BB962C8B-B14F-4D97-AF65-F5344CB8AC3E}">
        <p14:creationId xmlns:p14="http://schemas.microsoft.com/office/powerpoint/2010/main" val="175012341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D8C3E-53C5-1D13-E772-44ED711542A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02387F4-208F-B704-5A3C-0CC6D2227541}"/>
              </a:ext>
            </a:extLst>
          </p:cNvPr>
          <p:cNvSpPr>
            <a:spLocks noGrp="1"/>
          </p:cNvSpPr>
          <p:nvPr>
            <p:ph type="title"/>
          </p:nvPr>
        </p:nvSpPr>
        <p:spPr/>
        <p:txBody>
          <a:bodyPr/>
          <a:lstStyle/>
          <a:p>
            <a:r>
              <a:rPr lang="en-GB"/>
              <a:t>Obsoleted features and reports</a:t>
            </a:r>
          </a:p>
        </p:txBody>
      </p:sp>
      <p:sp>
        <p:nvSpPr>
          <p:cNvPr id="2" name="Text Placeholder 1">
            <a:extLst>
              <a:ext uri="{FF2B5EF4-FFF2-40B4-BE49-F238E27FC236}">
                <a16:creationId xmlns:a16="http://schemas.microsoft.com/office/drawing/2014/main" id="{EC895C02-AD6E-7775-0C8B-98039524C5F3}"/>
              </a:ext>
            </a:extLst>
          </p:cNvPr>
          <p:cNvSpPr>
            <a:spLocks noGrp="1"/>
          </p:cNvSpPr>
          <p:nvPr>
            <p:ph type="body" sz="quarter" idx="11"/>
          </p:nvPr>
        </p:nvSpPr>
        <p:spPr/>
        <p:txBody>
          <a:bodyPr/>
          <a:lstStyle/>
          <a:p>
            <a:r>
              <a:rPr lang="en-US"/>
              <a:t>Find them in our documentation</a:t>
            </a:r>
            <a:endParaRPr lang="en-GB"/>
          </a:p>
        </p:txBody>
      </p:sp>
      <p:pic>
        <p:nvPicPr>
          <p:cNvPr id="5" name="Picture 4">
            <a:extLst>
              <a:ext uri="{FF2B5EF4-FFF2-40B4-BE49-F238E27FC236}">
                <a16:creationId xmlns:a16="http://schemas.microsoft.com/office/drawing/2014/main" id="{89ECE5B5-E618-E037-CD19-2C779177CFF6}"/>
              </a:ext>
            </a:extLst>
          </p:cNvPr>
          <p:cNvPicPr>
            <a:picLocks noChangeAspect="1"/>
          </p:cNvPicPr>
          <p:nvPr/>
        </p:nvPicPr>
        <p:blipFill>
          <a:blip r:embed="rId2"/>
          <a:stretch>
            <a:fillRect/>
          </a:stretch>
        </p:blipFill>
        <p:spPr>
          <a:xfrm>
            <a:off x="5212704" y="685799"/>
            <a:ext cx="7111818" cy="5253534"/>
          </a:xfrm>
          <a:prstGeom prst="rect">
            <a:avLst/>
          </a:prstGeom>
        </p:spPr>
      </p:pic>
    </p:spTree>
    <p:extLst>
      <p:ext uri="{BB962C8B-B14F-4D97-AF65-F5344CB8AC3E}">
        <p14:creationId xmlns:p14="http://schemas.microsoft.com/office/powerpoint/2010/main" val="91524124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19253-50CC-39D3-D1D7-EAD3D92D1FA7}"/>
              </a:ext>
            </a:extLst>
          </p:cNvPr>
          <p:cNvSpPr>
            <a:spLocks noGrp="1"/>
          </p:cNvSpPr>
          <p:nvPr>
            <p:ph type="title"/>
          </p:nvPr>
        </p:nvSpPr>
        <p:spPr/>
        <p:txBody>
          <a:bodyPr/>
          <a:lstStyle/>
          <a:p>
            <a:r>
              <a:rPr lang="en-US"/>
              <a:t>Bonus: </a:t>
            </a:r>
            <a:r>
              <a:rPr lang="en-GB">
                <a:solidFill>
                  <a:schemeClr val="accent1">
                    <a:lumMod val="75000"/>
                  </a:schemeClr>
                </a:solidFill>
              </a:rPr>
              <a:t>Inventory</a:t>
            </a:r>
            <a:r>
              <a:rPr lang="en-GB"/>
              <a:t> data analysis (26.1)</a:t>
            </a:r>
          </a:p>
        </p:txBody>
      </p:sp>
      <p:sp>
        <p:nvSpPr>
          <p:cNvPr id="3" name="Text Placeholder 2">
            <a:extLst>
              <a:ext uri="{FF2B5EF4-FFF2-40B4-BE49-F238E27FC236}">
                <a16:creationId xmlns:a16="http://schemas.microsoft.com/office/drawing/2014/main" id="{E3BE91C8-0FC8-FDBA-431A-7E6B45504555}"/>
              </a:ext>
            </a:extLst>
          </p:cNvPr>
          <p:cNvSpPr>
            <a:spLocks noGrp="1"/>
          </p:cNvSpPr>
          <p:nvPr>
            <p:ph type="body" sz="quarter" idx="10"/>
          </p:nvPr>
        </p:nvSpPr>
        <p:spPr>
          <a:xfrm>
            <a:off x="586390" y="1434370"/>
            <a:ext cx="11018520" cy="430887"/>
          </a:xfrm>
        </p:spPr>
        <p:txBody>
          <a:bodyPr/>
          <a:lstStyle/>
          <a:p>
            <a:r>
              <a:rPr lang="en-GB"/>
              <a:t>Inventory by Location Analysis (query)</a:t>
            </a:r>
          </a:p>
        </p:txBody>
      </p:sp>
    </p:spTree>
    <p:extLst>
      <p:ext uri="{BB962C8B-B14F-4D97-AF65-F5344CB8AC3E}">
        <p14:creationId xmlns:p14="http://schemas.microsoft.com/office/powerpoint/2010/main" val="138755198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22AE3-CCE2-E45D-0E56-ADC4644E2E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E0AA86-CFDF-763E-1C42-71246DF9186F}"/>
              </a:ext>
            </a:extLst>
          </p:cNvPr>
          <p:cNvSpPr>
            <a:spLocks noGrp="1"/>
          </p:cNvSpPr>
          <p:nvPr>
            <p:ph type="title"/>
          </p:nvPr>
        </p:nvSpPr>
        <p:spPr/>
        <p:txBody>
          <a:bodyPr/>
          <a:lstStyle/>
          <a:p>
            <a:r>
              <a:rPr lang="en-US"/>
              <a:t>Bonus: </a:t>
            </a:r>
            <a:r>
              <a:rPr lang="en-GB">
                <a:solidFill>
                  <a:schemeClr val="accent1">
                    <a:lumMod val="75000"/>
                  </a:schemeClr>
                </a:solidFill>
              </a:rPr>
              <a:t>Project</a:t>
            </a:r>
            <a:r>
              <a:rPr lang="en-GB"/>
              <a:t> data analysis (26.1)</a:t>
            </a:r>
          </a:p>
        </p:txBody>
      </p:sp>
      <p:sp>
        <p:nvSpPr>
          <p:cNvPr id="3" name="Text Placeholder 2">
            <a:extLst>
              <a:ext uri="{FF2B5EF4-FFF2-40B4-BE49-F238E27FC236}">
                <a16:creationId xmlns:a16="http://schemas.microsoft.com/office/drawing/2014/main" id="{4B48224D-7918-D0DE-75CC-39A25BD3E970}"/>
              </a:ext>
            </a:extLst>
          </p:cNvPr>
          <p:cNvSpPr>
            <a:spLocks noGrp="1"/>
          </p:cNvSpPr>
          <p:nvPr>
            <p:ph type="body" sz="quarter" idx="10"/>
          </p:nvPr>
        </p:nvSpPr>
        <p:spPr>
          <a:xfrm>
            <a:off x="586390" y="1434370"/>
            <a:ext cx="11018520" cy="430887"/>
          </a:xfrm>
        </p:spPr>
        <p:txBody>
          <a:bodyPr/>
          <a:lstStyle/>
          <a:p>
            <a:r>
              <a:rPr lang="en-GB"/>
              <a:t>Project Planning Analysis (query)</a:t>
            </a:r>
          </a:p>
        </p:txBody>
      </p:sp>
    </p:spTree>
    <p:extLst>
      <p:ext uri="{BB962C8B-B14F-4D97-AF65-F5344CB8AC3E}">
        <p14:creationId xmlns:p14="http://schemas.microsoft.com/office/powerpoint/2010/main" val="394323350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FCBF0-207D-FB9C-0896-110A44BF65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C9CD03-1AE2-5319-4C9D-D12F8BC070DF}"/>
              </a:ext>
            </a:extLst>
          </p:cNvPr>
          <p:cNvSpPr>
            <a:spLocks noGrp="1"/>
          </p:cNvSpPr>
          <p:nvPr>
            <p:ph type="title"/>
          </p:nvPr>
        </p:nvSpPr>
        <p:spPr>
          <a:xfrm>
            <a:off x="585216" y="2537210"/>
            <a:ext cx="3948684" cy="997196"/>
          </a:xfrm>
        </p:spPr>
        <p:txBody>
          <a:bodyPr/>
          <a:lstStyle/>
          <a:p>
            <a:r>
              <a:rPr lang="en-GB"/>
              <a:t>Data analysis new features</a:t>
            </a:r>
          </a:p>
        </p:txBody>
      </p:sp>
    </p:spTree>
    <p:extLst>
      <p:ext uri="{BB962C8B-B14F-4D97-AF65-F5344CB8AC3E}">
        <p14:creationId xmlns:p14="http://schemas.microsoft.com/office/powerpoint/2010/main" val="359405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762409D7-C0AD-8CD3-84FA-1D3ACDE03B55}"/>
              </a:ext>
            </a:extLst>
          </p:cNvPr>
          <p:cNvSpPr>
            <a:spLocks noGrp="1"/>
          </p:cNvSpPr>
          <p:nvPr>
            <p:ph type="title"/>
          </p:nvPr>
        </p:nvSpPr>
        <p:spPr>
          <a:xfrm>
            <a:off x="588263" y="415679"/>
            <a:ext cx="4086479" cy="1107996"/>
          </a:xfrm>
        </p:spPr>
        <p:txBody>
          <a:bodyPr/>
          <a:lstStyle/>
          <a:p>
            <a:r>
              <a:rPr lang="en-US">
                <a:solidFill>
                  <a:schemeClr val="tx1"/>
                </a:solidFill>
              </a:rPr>
              <a:t>Flashback 2023RW2</a:t>
            </a:r>
            <a:br>
              <a:rPr lang="en-US">
                <a:solidFill>
                  <a:schemeClr val="tx1"/>
                </a:solidFill>
              </a:rPr>
            </a:br>
            <a:r>
              <a:rPr lang="en-US">
                <a:solidFill>
                  <a:schemeClr val="tx1"/>
                </a:solidFill>
              </a:rPr>
              <a:t>List page analysis </a:t>
            </a:r>
            <a:endParaRPr lang="en-DK">
              <a:solidFill>
                <a:schemeClr val="tx1"/>
              </a:solidFill>
            </a:endParaRPr>
          </a:p>
        </p:txBody>
      </p:sp>
      <p:sp>
        <p:nvSpPr>
          <p:cNvPr id="16" name="Text Placeholder 15">
            <a:extLst>
              <a:ext uri="{FF2B5EF4-FFF2-40B4-BE49-F238E27FC236}">
                <a16:creationId xmlns:a16="http://schemas.microsoft.com/office/drawing/2014/main" id="{FA81C6CC-E98E-12E3-A763-700BAB416EEB}"/>
              </a:ext>
            </a:extLst>
          </p:cNvPr>
          <p:cNvSpPr>
            <a:spLocks noGrp="1"/>
          </p:cNvSpPr>
          <p:nvPr>
            <p:ph type="body" sz="quarter" idx="11"/>
          </p:nvPr>
        </p:nvSpPr>
        <p:spPr>
          <a:xfrm>
            <a:off x="588263" y="2022396"/>
            <a:ext cx="3856737" cy="3754874"/>
          </a:xfrm>
        </p:spPr>
        <p:txBody>
          <a:bodyPr/>
          <a:lstStyle/>
          <a:p>
            <a:r>
              <a:rPr lang="en-GB" sz="2400" b="1">
                <a:solidFill>
                  <a:srgbClr val="000000"/>
                </a:solidFill>
                <a:latin typeface="Segoe UI" panose="020B0502040204020203" pitchFamily="34" charset="0"/>
              </a:rPr>
              <a:t>E</a:t>
            </a:r>
            <a:r>
              <a:rPr lang="en-GB" sz="2400" b="1" i="0" u="none" strike="noStrike">
                <a:solidFill>
                  <a:srgbClr val="000000"/>
                </a:solidFill>
                <a:effectLst/>
                <a:latin typeface="Segoe UI" panose="020B0502040204020203" pitchFamily="34" charset="0"/>
              </a:rPr>
              <a:t>xtract insights</a:t>
            </a:r>
            <a:r>
              <a:rPr lang="en-GB" sz="2400" b="0" i="0" u="none" strike="noStrike">
                <a:solidFill>
                  <a:srgbClr val="000000"/>
                </a:solidFill>
                <a:effectLst/>
                <a:latin typeface="Segoe UI" panose="020B0502040204020203" pitchFamily="34" charset="0"/>
              </a:rPr>
              <a:t> from your data directly in Business Central with </a:t>
            </a:r>
            <a:r>
              <a:rPr lang="en-GB" sz="2400" b="1" i="0" u="none" strike="noStrike">
                <a:solidFill>
                  <a:srgbClr val="000000"/>
                </a:solidFill>
                <a:effectLst/>
                <a:latin typeface="Segoe UI" panose="020B0502040204020203" pitchFamily="34" charset="0"/>
              </a:rPr>
              <a:t>no need to involve developers</a:t>
            </a:r>
            <a:r>
              <a:rPr lang="en-US" sz="2400" b="0" i="0">
                <a:solidFill>
                  <a:srgbClr val="000000"/>
                </a:solidFill>
                <a:effectLst/>
                <a:latin typeface="Segoe UI" panose="020B0502040204020203" pitchFamily="34" charset="0"/>
              </a:rPr>
              <a:t>​</a:t>
            </a:r>
          </a:p>
          <a:p>
            <a:endParaRPr lang="en-US" sz="2400"/>
          </a:p>
          <a:p>
            <a:r>
              <a:rPr lang="en-US" sz="2400"/>
              <a:t>Great </a:t>
            </a:r>
            <a:r>
              <a:rPr lang="en-US" sz="2400" b="1"/>
              <a:t>success</a:t>
            </a:r>
            <a:r>
              <a:rPr lang="en-US" sz="2400"/>
              <a:t>!</a:t>
            </a:r>
          </a:p>
          <a:p>
            <a:endParaRPr lang="en-US" sz="2400"/>
          </a:p>
          <a:p>
            <a:r>
              <a:rPr lang="en-US" sz="2400" b="1"/>
              <a:t>Challenge</a:t>
            </a:r>
            <a:r>
              <a:rPr lang="en-US" sz="2400"/>
              <a:t>: Complex cross-entity analysis</a:t>
            </a:r>
            <a:endParaRPr lang="en-DK" sz="2400"/>
          </a:p>
        </p:txBody>
      </p:sp>
      <p:pic>
        <p:nvPicPr>
          <p:cNvPr id="1026" name="Picture 2" descr="Table&#10;&#10;Description automatically generated">
            <a:extLst>
              <a:ext uri="{FF2B5EF4-FFF2-40B4-BE49-F238E27FC236}">
                <a16:creationId xmlns:a16="http://schemas.microsoft.com/office/drawing/2014/main" id="{B6503D4E-0738-2BF7-631A-8A5D7625B30B}"/>
              </a:ext>
            </a:extLst>
          </p:cNvPr>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rcRect t="1501" b="1501"/>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4518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2" end="2"/>
                                            </p:txEl>
                                          </p:spTgt>
                                        </p:tgtEl>
                                        <p:attrNameLst>
                                          <p:attrName>style.visibility</p:attrName>
                                        </p:attrNameLst>
                                      </p:cBhvr>
                                      <p:to>
                                        <p:strVal val="visible"/>
                                      </p:to>
                                    </p:set>
                                    <p:animEffect transition="in" filter="fade">
                                      <p:cBhvr>
                                        <p:cTn id="7" dur="500"/>
                                        <p:tgtEl>
                                          <p:spTgt spid="1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xEl>
                                              <p:pRg st="4" end="4"/>
                                            </p:txEl>
                                          </p:spTgt>
                                        </p:tgtEl>
                                        <p:attrNameLst>
                                          <p:attrName>style.visibility</p:attrName>
                                        </p:attrNameLst>
                                      </p:cBhvr>
                                      <p:to>
                                        <p:strVal val="visible"/>
                                      </p:to>
                                    </p:set>
                                    <p:animEffect transition="in" filter="fade">
                                      <p:cBhvr>
                                        <p:cTn id="12" dur="500"/>
                                        <p:tgtEl>
                                          <p:spTgt spid="1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BECCA-0141-3857-CE60-5FD867758087}"/>
              </a:ext>
            </a:extLst>
          </p:cNvPr>
          <p:cNvSpPr>
            <a:spLocks noGrp="1"/>
          </p:cNvSpPr>
          <p:nvPr>
            <p:ph type="title"/>
          </p:nvPr>
        </p:nvSpPr>
        <p:spPr>
          <a:xfrm>
            <a:off x="585216" y="1484614"/>
            <a:ext cx="3948684" cy="2049792"/>
          </a:xfrm>
        </p:spPr>
        <p:txBody>
          <a:bodyPr/>
          <a:lstStyle/>
          <a:p>
            <a:r>
              <a:rPr lang="en-GB"/>
              <a:t>What’s new in…</a:t>
            </a:r>
            <a:br>
              <a:rPr lang="en-GB"/>
            </a:br>
            <a:r>
              <a:rPr lang="en-GB" sz="2800"/>
              <a:t>Finance</a:t>
            </a:r>
            <a:br>
              <a:rPr lang="en-GB" sz="2800"/>
            </a:br>
            <a:r>
              <a:rPr lang="en-GB" sz="2800"/>
              <a:t>Manufacturing</a:t>
            </a:r>
            <a:br>
              <a:rPr lang="en-GB" sz="2800"/>
            </a:br>
            <a:r>
              <a:rPr lang="en-GB" sz="2800"/>
              <a:t>Sales</a:t>
            </a:r>
            <a:br>
              <a:rPr lang="en-GB" sz="2800"/>
            </a:br>
            <a:r>
              <a:rPr lang="en-GB" sz="2800"/>
              <a:t>…</a:t>
            </a:r>
            <a:endParaRPr lang="en-GB"/>
          </a:p>
        </p:txBody>
      </p:sp>
    </p:spTree>
    <p:extLst>
      <p:ext uri="{BB962C8B-B14F-4D97-AF65-F5344CB8AC3E}">
        <p14:creationId xmlns:p14="http://schemas.microsoft.com/office/powerpoint/2010/main" val="84894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49950-0850-BEEB-2AA7-63601C6380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9C554E-916B-D408-1F95-FCC01C8D23A7}"/>
              </a:ext>
            </a:extLst>
          </p:cNvPr>
          <p:cNvSpPr>
            <a:spLocks noGrp="1"/>
          </p:cNvSpPr>
          <p:nvPr>
            <p:ph type="title"/>
          </p:nvPr>
        </p:nvSpPr>
        <p:spPr>
          <a:xfrm>
            <a:off x="588263" y="457200"/>
            <a:ext cx="4071201" cy="1107996"/>
          </a:xfrm>
        </p:spPr>
        <p:txBody>
          <a:bodyPr wrap="square" anchor="t">
            <a:normAutofit fontScale="90000"/>
          </a:bodyPr>
          <a:lstStyle/>
          <a:p>
            <a:r>
              <a:rPr lang="en-US">
                <a:solidFill>
                  <a:schemeClr val="tx1"/>
                </a:solidFill>
              </a:rPr>
              <a:t>Add fields from related tables in Analysis Mode</a:t>
            </a:r>
            <a:endParaRPr lang="LID4096">
              <a:solidFill>
                <a:schemeClr val="tx1"/>
              </a:solidFill>
            </a:endParaRPr>
          </a:p>
        </p:txBody>
      </p:sp>
      <p:sp>
        <p:nvSpPr>
          <p:cNvPr id="13" name="Text Placeholder 12">
            <a:extLst>
              <a:ext uri="{FF2B5EF4-FFF2-40B4-BE49-F238E27FC236}">
                <a16:creationId xmlns:a16="http://schemas.microsoft.com/office/drawing/2014/main" id="{998C16AB-C195-FE2A-DCB7-CEC3D9E0A612}"/>
              </a:ext>
            </a:extLst>
          </p:cNvPr>
          <p:cNvSpPr>
            <a:spLocks noGrp="1"/>
          </p:cNvSpPr>
          <p:nvPr>
            <p:ph type="body" sz="quarter" idx="11"/>
          </p:nvPr>
        </p:nvSpPr>
        <p:spPr>
          <a:xfrm>
            <a:off x="588263" y="2714239"/>
            <a:ext cx="3856037" cy="2782300"/>
          </a:xfrm>
        </p:spPr>
        <p:txBody>
          <a:bodyPr/>
          <a:lstStyle/>
          <a:p>
            <a:r>
              <a:rPr lang="en-US" sz="2400"/>
              <a:t>Coming in</a:t>
            </a:r>
            <a:r>
              <a:rPr lang="en-DK" sz="2400"/>
              <a:t> 202</a:t>
            </a:r>
            <a:r>
              <a:rPr lang="en-US" sz="2400"/>
              <a:t>5</a:t>
            </a:r>
            <a:r>
              <a:rPr lang="en-DK" sz="2400"/>
              <a:t> release wave </a:t>
            </a:r>
            <a:r>
              <a:rPr lang="en-US" sz="2400"/>
              <a:t>1</a:t>
            </a:r>
            <a:r>
              <a:rPr lang="en-DK" sz="2400"/>
              <a:t> (2</a:t>
            </a:r>
            <a:r>
              <a:rPr lang="en-US" sz="2400"/>
              <a:t>6</a:t>
            </a:r>
            <a:r>
              <a:rPr lang="en-DK" sz="2400"/>
              <a:t>.</a:t>
            </a:r>
            <a:r>
              <a:rPr lang="en-US" sz="2400"/>
              <a:t>2</a:t>
            </a:r>
            <a:r>
              <a:rPr lang="en-DK" sz="2400"/>
              <a:t>)</a:t>
            </a:r>
            <a:endParaRPr lang="en-US" sz="2400"/>
          </a:p>
          <a:p>
            <a:endParaRPr lang="en-US" sz="2400"/>
          </a:p>
          <a:p>
            <a:r>
              <a:rPr lang="en-US"/>
              <a:t>Users can add </a:t>
            </a:r>
            <a:r>
              <a:rPr lang="en-US" b="1"/>
              <a:t>additional fields </a:t>
            </a:r>
            <a:r>
              <a:rPr lang="en-US"/>
              <a:t>from </a:t>
            </a:r>
            <a:r>
              <a:rPr lang="en-US" b="1"/>
              <a:t>related pages </a:t>
            </a:r>
            <a:r>
              <a:rPr lang="en-US"/>
              <a:t>(tables) in analysis mode to build and analyze views across related data sources.</a:t>
            </a:r>
          </a:p>
        </p:txBody>
      </p:sp>
      <p:pic>
        <p:nvPicPr>
          <p:cNvPr id="24" name="Content Placeholder 9">
            <a:extLst>
              <a:ext uri="{FF2B5EF4-FFF2-40B4-BE49-F238E27FC236}">
                <a16:creationId xmlns:a16="http://schemas.microsoft.com/office/drawing/2014/main" id="{64AC73F2-7290-19E7-B308-3943ED713336}"/>
              </a:ext>
            </a:extLst>
          </p:cNvPr>
          <p:cNvPicPr>
            <a:picLocks noChangeAspect="1"/>
          </p:cNvPicPr>
          <p:nvPr/>
        </p:nvPicPr>
        <p:blipFill>
          <a:blip r:embed="rId3">
            <a:extLst>
              <a:ext uri="{28A0092B-C50C-407E-A947-70E740481C1C}">
                <a14:useLocalDpi xmlns:a14="http://schemas.microsoft.com/office/drawing/2010/main" val="0"/>
              </a:ext>
            </a:extLst>
          </a:blip>
          <a:srcRect l="9737" r="9737"/>
          <a:stretch/>
        </p:blipFill>
        <p:spPr>
          <a:xfrm>
            <a:off x="5202937" y="1464400"/>
            <a:ext cx="6989063" cy="3929199"/>
          </a:xfrm>
          <a:prstGeom prst="roundRect">
            <a:avLst>
              <a:gd name="adj" fmla="val 0"/>
            </a:avLst>
          </a:prstGeom>
          <a:noFill/>
        </p:spPr>
      </p:pic>
    </p:spTree>
    <p:extLst>
      <p:ext uri="{BB962C8B-B14F-4D97-AF65-F5344CB8AC3E}">
        <p14:creationId xmlns:p14="http://schemas.microsoft.com/office/powerpoint/2010/main" val="101461512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4F3772-3A7B-3F6E-DBFD-7365523B09C9}"/>
              </a:ext>
            </a:extLst>
          </p:cNvPr>
          <p:cNvSpPr>
            <a:spLocks noGrp="1"/>
          </p:cNvSpPr>
          <p:nvPr>
            <p:ph type="title"/>
          </p:nvPr>
        </p:nvSpPr>
        <p:spPr/>
        <p:txBody>
          <a:bodyPr/>
          <a:lstStyle/>
          <a:p>
            <a:r>
              <a:rPr lang="en-US"/>
              <a:t>Demo</a:t>
            </a:r>
            <a:endParaRPr lang="LID4096"/>
          </a:p>
        </p:txBody>
      </p:sp>
      <p:sp>
        <p:nvSpPr>
          <p:cNvPr id="2" name="Text Placeholder 1">
            <a:extLst>
              <a:ext uri="{FF2B5EF4-FFF2-40B4-BE49-F238E27FC236}">
                <a16:creationId xmlns:a16="http://schemas.microsoft.com/office/drawing/2014/main" id="{9BDF5874-D676-CA16-EB12-81BBBF3D42B4}"/>
              </a:ext>
            </a:extLst>
          </p:cNvPr>
          <p:cNvSpPr>
            <a:spLocks noGrp="1"/>
          </p:cNvSpPr>
          <p:nvPr>
            <p:ph type="body" sz="quarter" idx="12"/>
          </p:nvPr>
        </p:nvSpPr>
        <p:spPr>
          <a:xfrm>
            <a:off x="585216" y="3977319"/>
            <a:ext cx="4530748" cy="492443"/>
          </a:xfrm>
        </p:spPr>
        <p:txBody>
          <a:bodyPr vert="horz" wrap="square" lIns="0" tIns="0" rIns="0" bIns="0" rtlCol="0" anchor="t">
            <a:spAutoFit/>
          </a:bodyPr>
          <a:lstStyle/>
          <a:p>
            <a:r>
              <a:rPr lang="en-US">
                <a:cs typeface="Segoe UI"/>
              </a:rPr>
              <a:t>Add fields from the Sales Orders list and from the Customer List pages to the Sales Line page!</a:t>
            </a:r>
            <a:endParaRPr lang="LID4096"/>
          </a:p>
        </p:txBody>
      </p:sp>
    </p:spTree>
    <p:extLst>
      <p:ext uri="{BB962C8B-B14F-4D97-AF65-F5344CB8AC3E}">
        <p14:creationId xmlns:p14="http://schemas.microsoft.com/office/powerpoint/2010/main" val="71985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FD5DD8D6-81D6-5DEF-3824-CC06669614C6}"/>
              </a:ext>
            </a:extLst>
          </p:cNvPr>
          <p:cNvSpPr>
            <a:spLocks noGrp="1"/>
          </p:cNvSpPr>
          <p:nvPr>
            <p:ph type="title"/>
          </p:nvPr>
        </p:nvSpPr>
        <p:spPr/>
        <p:txBody>
          <a:bodyPr/>
          <a:lstStyle/>
          <a:p>
            <a:r>
              <a:rPr lang="en-US">
                <a:solidFill>
                  <a:srgbClr val="003C6A"/>
                </a:solidFill>
                <a:cs typeface="Segoe UI Semibold"/>
              </a:rPr>
              <a:t>Recap: </a:t>
            </a:r>
            <a:r>
              <a:rPr lang="en-US" b="1">
                <a:cs typeface="Segoe UI Semibold"/>
              </a:rPr>
              <a:t>Adding fields from related tables</a:t>
            </a:r>
            <a:endParaRPr lang="en-US">
              <a:cs typeface="Segoe UI Semibold"/>
            </a:endParaRPr>
          </a:p>
        </p:txBody>
      </p:sp>
      <p:sp>
        <p:nvSpPr>
          <p:cNvPr id="15" name="Text Placeholder 14">
            <a:extLst>
              <a:ext uri="{FF2B5EF4-FFF2-40B4-BE49-F238E27FC236}">
                <a16:creationId xmlns:a16="http://schemas.microsoft.com/office/drawing/2014/main" id="{50F7EA4B-9DD5-2DEA-DE15-E0F022058B50}"/>
              </a:ext>
            </a:extLst>
          </p:cNvPr>
          <p:cNvSpPr>
            <a:spLocks noGrp="1"/>
          </p:cNvSpPr>
          <p:nvPr>
            <p:ph type="body" sz="quarter" idx="19"/>
          </p:nvPr>
        </p:nvSpPr>
        <p:spPr>
          <a:xfrm>
            <a:off x="584200" y="2084388"/>
            <a:ext cx="5219700" cy="3775393"/>
          </a:xfrm>
        </p:spPr>
        <p:txBody>
          <a:bodyPr vert="horz" wrap="square" lIns="182880" tIns="91440" rIns="0" bIns="0" rtlCol="0" anchor="t">
            <a:spAutoFit/>
          </a:bodyPr>
          <a:lstStyle/>
          <a:p>
            <a:pPr marL="285750" indent="-285750">
              <a:spcBef>
                <a:spcPts val="1600"/>
              </a:spcBef>
              <a:buFont typeface="Arial" panose="020B0604020202020204" pitchFamily="34" charset="0"/>
              <a:buChar char="•"/>
            </a:pPr>
            <a:r>
              <a:rPr lang="en-US" sz="1600">
                <a:cs typeface="Segoe UI"/>
              </a:rPr>
              <a:t>Get started by adding related columns from the Analysis View tab menu or the column menu.</a:t>
            </a:r>
            <a:endParaRPr lang="en-US"/>
          </a:p>
          <a:p>
            <a:pPr marL="285750" indent="-285750">
              <a:spcBef>
                <a:spcPts val="1600"/>
              </a:spcBef>
              <a:buFont typeface="Arial" panose="020B0604020202020204" pitchFamily="34" charset="0"/>
              <a:buChar char="•"/>
            </a:pPr>
            <a:r>
              <a:rPr lang="en-US" sz="1600" noProof="0">
                <a:cs typeface="Segoe UI"/>
              </a:rPr>
              <a:t>The suggested related tables are those that have a </a:t>
            </a:r>
            <a:r>
              <a:rPr lang="en-US" sz="1600" b="1" noProof="0">
                <a:cs typeface="Segoe UI"/>
              </a:rPr>
              <a:t>table relation with the source table </a:t>
            </a:r>
            <a:r>
              <a:rPr lang="en-US" sz="1600" noProof="0">
                <a:cs typeface="Segoe UI"/>
              </a:rPr>
              <a:t>of the </a:t>
            </a:r>
            <a:r>
              <a:rPr lang="en-US" sz="1600">
                <a:cs typeface="Segoe UI"/>
              </a:rPr>
              <a:t>current page in AL. </a:t>
            </a:r>
            <a:endParaRPr lang="en-US" sz="1600" noProof="0">
              <a:cs typeface="Segoe UI"/>
            </a:endParaRPr>
          </a:p>
          <a:p>
            <a:pPr marL="514350" lvl="1" indent="-285750">
              <a:spcBef>
                <a:spcPts val="1600"/>
              </a:spcBef>
              <a:buFont typeface="Arial" panose="020B0604020202020204" pitchFamily="34" charset="0"/>
              <a:buChar char="•"/>
            </a:pPr>
            <a:r>
              <a:rPr lang="en-US" sz="1400"/>
              <a:t>We only suggest the </a:t>
            </a:r>
            <a:r>
              <a:rPr lang="en-US" sz="1400" b="1"/>
              <a:t>tables that are available </a:t>
            </a:r>
            <a:r>
              <a:rPr lang="en-US" sz="1400"/>
              <a:t>(not obsoleted, not temporary, not internal…) and where the </a:t>
            </a:r>
            <a:r>
              <a:rPr lang="en-US" sz="1400" b="1"/>
              <a:t>user has permissions </a:t>
            </a:r>
            <a:r>
              <a:rPr lang="en-US" sz="1400"/>
              <a:t>to read the data.</a:t>
            </a:r>
            <a:endParaRPr lang="en-US" sz="1400" noProof="0">
              <a:cs typeface="Segoe UI"/>
            </a:endParaRPr>
          </a:p>
          <a:p>
            <a:pPr marL="285750" indent="-285750">
              <a:spcBef>
                <a:spcPts val="1600"/>
              </a:spcBef>
              <a:buFont typeface="Arial" panose="020B0604020202020204" pitchFamily="34" charset="0"/>
              <a:buChar char="•"/>
            </a:pPr>
            <a:r>
              <a:rPr lang="en-US" sz="1600" noProof="0">
                <a:cs typeface="Segoe UI"/>
              </a:rPr>
              <a:t>When joining with other tables, we perform a </a:t>
            </a:r>
            <a:r>
              <a:rPr lang="en-US" sz="1600" b="1" noProof="0">
                <a:cs typeface="Segoe UI"/>
              </a:rPr>
              <a:t>left outer join</a:t>
            </a:r>
            <a:r>
              <a:rPr lang="en-US" sz="1600" noProof="0">
                <a:cs typeface="Segoe UI"/>
              </a:rPr>
              <a:t> on the data. </a:t>
            </a:r>
          </a:p>
          <a:p>
            <a:pPr marL="285750" indent="-285750">
              <a:spcBef>
                <a:spcPts val="1600"/>
              </a:spcBef>
              <a:buFont typeface="Arial" panose="020B0604020202020204" pitchFamily="34" charset="0"/>
              <a:buChar char="•"/>
            </a:pPr>
            <a:r>
              <a:rPr lang="en-US" sz="1600">
                <a:cs typeface="Segoe UI"/>
              </a:rPr>
              <a:t>It is possible to join the same table twice through different table relationships.</a:t>
            </a:r>
          </a:p>
        </p:txBody>
      </p:sp>
      <p:sp>
        <p:nvSpPr>
          <p:cNvPr id="16" name="Text Placeholder 15">
            <a:extLst>
              <a:ext uri="{FF2B5EF4-FFF2-40B4-BE49-F238E27FC236}">
                <a16:creationId xmlns:a16="http://schemas.microsoft.com/office/drawing/2014/main" id="{D2A67CC8-F08D-F44A-5143-96A8194ACE02}"/>
              </a:ext>
            </a:extLst>
          </p:cNvPr>
          <p:cNvSpPr>
            <a:spLocks noGrp="1"/>
          </p:cNvSpPr>
          <p:nvPr>
            <p:ph type="body" sz="quarter" idx="22"/>
          </p:nvPr>
        </p:nvSpPr>
        <p:spPr>
          <a:xfrm>
            <a:off x="6397625" y="2084388"/>
            <a:ext cx="5219700" cy="3588675"/>
          </a:xfrm>
        </p:spPr>
        <p:txBody>
          <a:bodyPr vert="horz" wrap="square" lIns="182880" tIns="91440" rIns="0" bIns="0" rtlCol="0" anchor="t">
            <a:spAutoFit/>
          </a:bodyPr>
          <a:lstStyle/>
          <a:p>
            <a:pPr>
              <a:spcBef>
                <a:spcPts val="20"/>
              </a:spcBef>
              <a:buFont typeface="Arial" panose="020B0604020202020204" pitchFamily="34" charset="0"/>
              <a:buChar char="•"/>
            </a:pPr>
            <a:endParaRPr lang="en-US" sz="1600"/>
          </a:p>
          <a:p>
            <a:pPr>
              <a:spcBef>
                <a:spcPts val="20"/>
              </a:spcBef>
            </a:pPr>
            <a:r>
              <a:rPr lang="en-US" sz="1600">
                <a:cs typeface="Segoe UI"/>
              </a:rPr>
              <a:t>Hide/show</a:t>
            </a:r>
          </a:p>
          <a:p>
            <a:pPr>
              <a:spcBef>
                <a:spcPts val="20"/>
              </a:spcBef>
            </a:pPr>
            <a:r>
              <a:rPr lang="en-US" sz="1600">
                <a:cs typeface="Segoe UI"/>
              </a:rPr>
              <a:t>Reorder</a:t>
            </a:r>
          </a:p>
          <a:p>
            <a:pPr>
              <a:spcBef>
                <a:spcPts val="20"/>
              </a:spcBef>
            </a:pPr>
            <a:r>
              <a:rPr lang="en-US" sz="1600">
                <a:cs typeface="Segoe UI"/>
              </a:rPr>
              <a:t>Freeze left/right </a:t>
            </a:r>
          </a:p>
          <a:p>
            <a:pPr>
              <a:spcBef>
                <a:spcPts val="20"/>
              </a:spcBef>
            </a:pPr>
            <a:r>
              <a:rPr lang="en-US" sz="1600">
                <a:cs typeface="Segoe UI"/>
              </a:rPr>
              <a:t>Set filters </a:t>
            </a:r>
          </a:p>
          <a:p>
            <a:pPr>
              <a:spcBef>
                <a:spcPts val="20"/>
              </a:spcBef>
            </a:pPr>
            <a:r>
              <a:rPr lang="en-US" sz="1600">
                <a:cs typeface="Segoe UI"/>
              </a:rPr>
              <a:t>Group and pivot </a:t>
            </a:r>
          </a:p>
          <a:p>
            <a:pPr>
              <a:spcBef>
                <a:spcPts val="20"/>
              </a:spcBef>
            </a:pPr>
            <a:r>
              <a:rPr lang="en-US" sz="1600">
                <a:cs typeface="Segoe UI"/>
              </a:rPr>
              <a:t>Export to excel </a:t>
            </a:r>
          </a:p>
          <a:p>
            <a:pPr>
              <a:spcBef>
                <a:spcPts val="20"/>
              </a:spcBef>
            </a:pPr>
            <a:endParaRPr lang="en-US" sz="1600"/>
          </a:p>
          <a:p>
            <a:pPr marL="0" indent="0">
              <a:spcBef>
                <a:spcPts val="20"/>
              </a:spcBef>
              <a:buNone/>
            </a:pPr>
            <a:endParaRPr lang="en-US" sz="1600">
              <a:cs typeface="Segoe UI"/>
            </a:endParaRPr>
          </a:p>
          <a:p>
            <a:pPr marL="0" indent="0">
              <a:spcBef>
                <a:spcPts val="20"/>
              </a:spcBef>
              <a:buNone/>
            </a:pPr>
            <a:r>
              <a:rPr lang="en-US" sz="1600" b="1">
                <a:cs typeface="Segoe UI"/>
              </a:rPr>
              <a:t>Except...</a:t>
            </a:r>
            <a:endParaRPr lang="en-US" sz="1600" b="1"/>
          </a:p>
          <a:p>
            <a:pPr marL="0" indent="0">
              <a:spcBef>
                <a:spcPts val="20"/>
              </a:spcBef>
              <a:buNone/>
            </a:pPr>
            <a:endParaRPr lang="en-US" sz="1600" b="1">
              <a:cs typeface="Segoe UI"/>
            </a:endParaRPr>
          </a:p>
          <a:p>
            <a:pPr>
              <a:spcBef>
                <a:spcPts val="20"/>
              </a:spcBef>
            </a:pPr>
            <a:r>
              <a:rPr lang="en-US" sz="1600">
                <a:cs typeface="Segoe UI"/>
              </a:rPr>
              <a:t>Copilot </a:t>
            </a:r>
            <a:r>
              <a:rPr lang="en-US" sz="1600" b="1">
                <a:cs typeface="Segoe UI"/>
              </a:rPr>
              <a:t>analysis assist is not supported </a:t>
            </a:r>
            <a:r>
              <a:rPr lang="en-US" sz="1600">
                <a:cs typeface="Segoe UI"/>
              </a:rPr>
              <a:t>on related columns (yet) </a:t>
            </a:r>
          </a:p>
          <a:p>
            <a:r>
              <a:rPr lang="en-US" sz="1600">
                <a:cs typeface="Segoe UI"/>
              </a:rPr>
              <a:t>Calculated columns are not supported</a:t>
            </a:r>
            <a:endParaRPr lang="en-DK" sz="1600">
              <a:cs typeface="Segoe UI"/>
            </a:endParaRPr>
          </a:p>
        </p:txBody>
      </p:sp>
      <p:sp>
        <p:nvSpPr>
          <p:cNvPr id="13" name="Text Placeholder 12">
            <a:extLst>
              <a:ext uri="{FF2B5EF4-FFF2-40B4-BE49-F238E27FC236}">
                <a16:creationId xmlns:a16="http://schemas.microsoft.com/office/drawing/2014/main" id="{65A889C7-B9CD-7385-BD9E-F50D18B47B52}"/>
              </a:ext>
            </a:extLst>
          </p:cNvPr>
          <p:cNvSpPr>
            <a:spLocks noGrp="1"/>
          </p:cNvSpPr>
          <p:nvPr>
            <p:ph type="body" sz="quarter" idx="16"/>
          </p:nvPr>
        </p:nvSpPr>
        <p:spPr>
          <a:xfrm>
            <a:off x="584200" y="1543506"/>
            <a:ext cx="5219700" cy="738664"/>
          </a:xfrm>
        </p:spPr>
        <p:txBody>
          <a:bodyPr/>
          <a:lstStyle/>
          <a:p>
            <a:r>
              <a:rPr lang="en-US" sz="2400" b="1" noProof="0">
                <a:solidFill>
                  <a:schemeClr val="tx1"/>
                </a:solidFill>
              </a:rPr>
              <a:t>Adding fields from related tables</a:t>
            </a:r>
          </a:p>
          <a:p>
            <a:endParaRPr lang="en-DK" sz="2400"/>
          </a:p>
        </p:txBody>
      </p:sp>
      <p:sp>
        <p:nvSpPr>
          <p:cNvPr id="14" name="Text Placeholder 13">
            <a:extLst>
              <a:ext uri="{FF2B5EF4-FFF2-40B4-BE49-F238E27FC236}">
                <a16:creationId xmlns:a16="http://schemas.microsoft.com/office/drawing/2014/main" id="{BEB56D8D-E3D1-DCFB-6D73-A0ED1FC8AD5D}"/>
              </a:ext>
            </a:extLst>
          </p:cNvPr>
          <p:cNvSpPr>
            <a:spLocks noGrp="1"/>
          </p:cNvSpPr>
          <p:nvPr>
            <p:ph type="body" sz="quarter" idx="17"/>
          </p:nvPr>
        </p:nvSpPr>
        <p:spPr>
          <a:xfrm>
            <a:off x="6397625" y="1543506"/>
            <a:ext cx="5219700" cy="738664"/>
          </a:xfrm>
        </p:spPr>
        <p:txBody>
          <a:bodyPr/>
          <a:lstStyle/>
          <a:p>
            <a:r>
              <a:rPr lang="en-US" sz="2400" b="1" noProof="0">
                <a:solidFill>
                  <a:schemeClr val="tx1"/>
                </a:solidFill>
              </a:rPr>
              <a:t>Like regular columns</a:t>
            </a:r>
          </a:p>
          <a:p>
            <a:endParaRPr lang="en-DK" sz="2400"/>
          </a:p>
        </p:txBody>
      </p:sp>
    </p:spTree>
    <p:extLst>
      <p:ext uri="{BB962C8B-B14F-4D97-AF65-F5344CB8AC3E}">
        <p14:creationId xmlns:p14="http://schemas.microsoft.com/office/powerpoint/2010/main" val="1225917641"/>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BAE55-7190-0C03-C345-C18B5DF10F4F}"/>
              </a:ext>
            </a:extLst>
          </p:cNvPr>
          <p:cNvSpPr>
            <a:spLocks noGrp="1"/>
          </p:cNvSpPr>
          <p:nvPr>
            <p:ph type="title"/>
          </p:nvPr>
        </p:nvSpPr>
        <p:spPr/>
        <p:txBody>
          <a:bodyPr/>
          <a:lstStyle/>
          <a:p>
            <a:r>
              <a:rPr lang="en-US"/>
              <a:t>Learn more…</a:t>
            </a:r>
            <a:endParaRPr lang="en-GB"/>
          </a:p>
        </p:txBody>
      </p:sp>
    </p:spTree>
    <p:extLst>
      <p:ext uri="{BB962C8B-B14F-4D97-AF65-F5344CB8AC3E}">
        <p14:creationId xmlns:p14="http://schemas.microsoft.com/office/powerpoint/2010/main" val="412687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D44796A-AFFA-0EAA-7FFE-BF40410A77D7}"/>
              </a:ext>
            </a:extLst>
          </p:cNvPr>
          <p:cNvGrpSpPr/>
          <p:nvPr/>
        </p:nvGrpSpPr>
        <p:grpSpPr>
          <a:xfrm>
            <a:off x="41190" y="1710125"/>
            <a:ext cx="12192000" cy="6263058"/>
            <a:chOff x="0" y="367357"/>
            <a:chExt cx="12192000" cy="6263058"/>
          </a:xfrm>
        </p:grpSpPr>
        <p:pic>
          <p:nvPicPr>
            <p:cNvPr id="3" name="Picture 2">
              <a:extLst>
                <a:ext uri="{FF2B5EF4-FFF2-40B4-BE49-F238E27FC236}">
                  <a16:creationId xmlns:a16="http://schemas.microsoft.com/office/drawing/2014/main" id="{2723C8A9-9B1C-2FE7-5859-16DEE8AFA97C}"/>
                </a:ext>
              </a:extLst>
            </p:cNvPr>
            <p:cNvPicPr>
              <a:picLocks noChangeAspect="1"/>
            </p:cNvPicPr>
            <p:nvPr/>
          </p:nvPicPr>
          <p:blipFill>
            <a:blip r:embed="rId3"/>
            <a:srcRect/>
            <a:stretch/>
          </p:blipFill>
          <p:spPr>
            <a:xfrm>
              <a:off x="0" y="367357"/>
              <a:ext cx="12192000" cy="6263058"/>
            </a:xfrm>
            <a:prstGeom prst="rect">
              <a:avLst/>
            </a:prstGeom>
          </p:spPr>
        </p:pic>
        <p:sp>
          <p:nvSpPr>
            <p:cNvPr id="6" name="TextBox 5">
              <a:extLst>
                <a:ext uri="{FF2B5EF4-FFF2-40B4-BE49-F238E27FC236}">
                  <a16:creationId xmlns:a16="http://schemas.microsoft.com/office/drawing/2014/main" id="{69158C1A-76F0-EB60-A33A-F85C0DA9C4E7}"/>
                </a:ext>
              </a:extLst>
            </p:cNvPr>
            <p:cNvSpPr txBox="1"/>
            <p:nvPr/>
          </p:nvSpPr>
          <p:spPr>
            <a:xfrm>
              <a:off x="102448" y="2643396"/>
              <a:ext cx="2771012" cy="1976486"/>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grpSp>
      <p:sp>
        <p:nvSpPr>
          <p:cNvPr id="9" name="Title 2">
            <a:extLst>
              <a:ext uri="{FF2B5EF4-FFF2-40B4-BE49-F238E27FC236}">
                <a16:creationId xmlns:a16="http://schemas.microsoft.com/office/drawing/2014/main" id="{76222177-BF97-6B1E-9D94-3CBA2D17DBC3}"/>
              </a:ext>
            </a:extLst>
          </p:cNvPr>
          <p:cNvSpPr txBox="1">
            <a:spLocks/>
          </p:cNvSpPr>
          <p:nvPr/>
        </p:nvSpPr>
        <p:spPr>
          <a:xfrm>
            <a:off x="41190" y="37071"/>
            <a:ext cx="11018520" cy="553998"/>
          </a:xfrm>
          <a:prstGeom prst="rect">
            <a:avLst/>
          </a:prstGeom>
        </p:spPr>
        <p:txBody>
          <a:bodyPr wrap="square" anchor="t">
            <a:normAutofit fontScale="92500" lnSpcReduction="1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ka.ms/</a:t>
            </a:r>
            <a:r>
              <a:rPr kumimoji="0" lang="en-GB" sz="3600" b="0" i="0" u="none" strike="noStrike" kern="1200" cap="none" spc="-50" normalizeH="0" baseline="0" noProof="0" err="1">
                <a:ln w="3175">
                  <a:noFill/>
                </a:ln>
                <a:solidFill>
                  <a:srgbClr val="000000"/>
                </a:solidFill>
                <a:effectLst/>
                <a:uLnTx/>
                <a:uFillTx/>
                <a:latin typeface="Segoe UI Semibold"/>
                <a:ea typeface="+mn-ea"/>
                <a:cs typeface="Segoe UI" pitchFamily="34" charset="0"/>
              </a:rPr>
              <a:t>bc</a:t>
            </a:r>
            <a:r>
              <a:rPr kumimoji="0" lang="en-GB" sz="3600" b="0" i="0" u="none" strike="noStrike" kern="1200" cap="none" spc="-50" normalizeH="0" baseline="0" noProof="0" err="1">
                <a:ln w="3175">
                  <a:noFill/>
                </a:ln>
                <a:solidFill>
                  <a:srgbClr val="0078D4"/>
                </a:solidFill>
                <a:effectLst/>
                <a:uLnTx/>
                <a:uFillTx/>
                <a:latin typeface="Segoe UI Semibold"/>
                <a:ea typeface="+mn-ea"/>
                <a:cs typeface="Segoe UI" pitchFamily="34" charset="0"/>
              </a:rPr>
              <a:t>Analytics</a:t>
            </a: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 (for users)</a:t>
            </a:r>
          </a:p>
        </p:txBody>
      </p:sp>
    </p:spTree>
    <p:extLst>
      <p:ext uri="{BB962C8B-B14F-4D97-AF65-F5344CB8AC3E}">
        <p14:creationId xmlns:p14="http://schemas.microsoft.com/office/powerpoint/2010/main" val="351960808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D44796A-AFFA-0EAA-7FFE-BF40410A77D7}"/>
              </a:ext>
            </a:extLst>
          </p:cNvPr>
          <p:cNvGrpSpPr/>
          <p:nvPr/>
        </p:nvGrpSpPr>
        <p:grpSpPr>
          <a:xfrm>
            <a:off x="41190" y="1945646"/>
            <a:ext cx="12192000" cy="5792016"/>
            <a:chOff x="0" y="602878"/>
            <a:chExt cx="12192000" cy="5792016"/>
          </a:xfrm>
        </p:grpSpPr>
        <p:pic>
          <p:nvPicPr>
            <p:cNvPr id="3" name="Picture 2">
              <a:extLst>
                <a:ext uri="{FF2B5EF4-FFF2-40B4-BE49-F238E27FC236}">
                  <a16:creationId xmlns:a16="http://schemas.microsoft.com/office/drawing/2014/main" id="{2723C8A9-9B1C-2FE7-5859-16DEE8AFA97C}"/>
                </a:ext>
              </a:extLst>
            </p:cNvPr>
            <p:cNvPicPr>
              <a:picLocks noChangeAspect="1"/>
            </p:cNvPicPr>
            <p:nvPr/>
          </p:nvPicPr>
          <p:blipFill>
            <a:blip r:embed="rId3"/>
            <a:srcRect/>
            <a:stretch/>
          </p:blipFill>
          <p:spPr>
            <a:xfrm>
              <a:off x="0" y="602878"/>
              <a:ext cx="12192000" cy="5792016"/>
            </a:xfrm>
            <a:prstGeom prst="rect">
              <a:avLst/>
            </a:prstGeom>
          </p:spPr>
        </p:pic>
        <p:sp>
          <p:nvSpPr>
            <p:cNvPr id="6" name="TextBox 5">
              <a:extLst>
                <a:ext uri="{FF2B5EF4-FFF2-40B4-BE49-F238E27FC236}">
                  <a16:creationId xmlns:a16="http://schemas.microsoft.com/office/drawing/2014/main" id="{69158C1A-76F0-EB60-A33A-F85C0DA9C4E7}"/>
                </a:ext>
              </a:extLst>
            </p:cNvPr>
            <p:cNvSpPr txBox="1"/>
            <p:nvPr/>
          </p:nvSpPr>
          <p:spPr>
            <a:xfrm>
              <a:off x="102448" y="2686307"/>
              <a:ext cx="2189987" cy="190500"/>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grpSp>
      <p:sp>
        <p:nvSpPr>
          <p:cNvPr id="9" name="Title 2">
            <a:extLst>
              <a:ext uri="{FF2B5EF4-FFF2-40B4-BE49-F238E27FC236}">
                <a16:creationId xmlns:a16="http://schemas.microsoft.com/office/drawing/2014/main" id="{76222177-BF97-6B1E-9D94-3CBA2D17DBC3}"/>
              </a:ext>
            </a:extLst>
          </p:cNvPr>
          <p:cNvSpPr txBox="1">
            <a:spLocks/>
          </p:cNvSpPr>
          <p:nvPr/>
        </p:nvSpPr>
        <p:spPr>
          <a:xfrm>
            <a:off x="41190" y="37071"/>
            <a:ext cx="11018520" cy="553998"/>
          </a:xfrm>
          <a:prstGeom prst="rect">
            <a:avLst/>
          </a:prstGeom>
        </p:spPr>
        <p:txBody>
          <a:bodyPr wrap="square" anchor="t">
            <a:normAutofit fontScale="77500" lnSpcReduction="2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nalytics per functional area (finance, sales, purchase, inventory, …)</a:t>
            </a:r>
          </a:p>
        </p:txBody>
      </p:sp>
      <p:sp>
        <p:nvSpPr>
          <p:cNvPr id="4" name="TextBox 3">
            <a:extLst>
              <a:ext uri="{FF2B5EF4-FFF2-40B4-BE49-F238E27FC236}">
                <a16:creationId xmlns:a16="http://schemas.microsoft.com/office/drawing/2014/main" id="{7265AF78-9D99-6D84-91E4-765362E28BF2}"/>
              </a:ext>
            </a:extLst>
          </p:cNvPr>
          <p:cNvSpPr txBox="1"/>
          <p:nvPr/>
        </p:nvSpPr>
        <p:spPr>
          <a:xfrm>
            <a:off x="410338" y="5495262"/>
            <a:ext cx="2313812" cy="1057938"/>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81749872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F4B59-3F85-DA65-93DD-43CD1A980295}"/>
              </a:ext>
            </a:extLst>
          </p:cNvPr>
          <p:cNvSpPr>
            <a:spLocks noGrp="1"/>
          </p:cNvSpPr>
          <p:nvPr>
            <p:ph type="title"/>
          </p:nvPr>
        </p:nvSpPr>
        <p:spPr>
          <a:xfrm>
            <a:off x="588263" y="457200"/>
            <a:ext cx="11018520" cy="553998"/>
          </a:xfrm>
        </p:spPr>
        <p:txBody>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nalytics aka links per functional area</a:t>
            </a:r>
          </a:p>
        </p:txBody>
      </p:sp>
      <p:sp>
        <p:nvSpPr>
          <p:cNvPr id="4" name="Content Placeholder 3">
            <a:extLst>
              <a:ext uri="{FF2B5EF4-FFF2-40B4-BE49-F238E27FC236}">
                <a16:creationId xmlns:a16="http://schemas.microsoft.com/office/drawing/2014/main" id="{2BFC0D28-525E-086B-47F7-75D22AE5B9C9}"/>
              </a:ext>
            </a:extLst>
          </p:cNvPr>
          <p:cNvSpPr>
            <a:spLocks noGrp="1"/>
          </p:cNvSpPr>
          <p:nvPr>
            <p:ph sz="quarter" idx="10"/>
          </p:nvPr>
        </p:nvSpPr>
        <p:spPr>
          <a:xfrm>
            <a:off x="584200" y="1435100"/>
            <a:ext cx="11018838" cy="3533275"/>
          </a:xfrm>
        </p:spPr>
        <p:txBody>
          <a:bodyPr/>
          <a:lstStyle/>
          <a:p>
            <a:r>
              <a:rPr lang="en-GB"/>
              <a:t>aka.ms/</a:t>
            </a:r>
            <a:r>
              <a:rPr lang="en-GB" err="1"/>
              <a:t>bc</a:t>
            </a:r>
            <a:r>
              <a:rPr lang="en-GB" err="1">
                <a:solidFill>
                  <a:schemeClr val="accent1">
                    <a:lumMod val="75000"/>
                  </a:schemeClr>
                </a:solidFill>
              </a:rPr>
              <a:t>Finance</a:t>
            </a:r>
            <a:r>
              <a:rPr lang="en-GB" err="1"/>
              <a:t>Analytics</a:t>
            </a:r>
            <a:endParaRPr lang="en-GB"/>
          </a:p>
          <a:p>
            <a:r>
              <a:rPr lang="en-GB"/>
              <a:t>aka.ms/</a:t>
            </a:r>
            <a:r>
              <a:rPr lang="en-GB" err="1"/>
              <a:t>bc</a:t>
            </a:r>
            <a:r>
              <a:rPr lang="en-GB" err="1">
                <a:solidFill>
                  <a:schemeClr val="accent1">
                    <a:lumMod val="75000"/>
                  </a:schemeClr>
                </a:solidFill>
              </a:rPr>
              <a:t>Sales</a:t>
            </a:r>
            <a:r>
              <a:rPr lang="en-GB" err="1"/>
              <a:t>Analytics</a:t>
            </a:r>
            <a:endParaRPr lang="en-GB"/>
          </a:p>
          <a:p>
            <a:r>
              <a:rPr lang="en-GB"/>
              <a:t>aka.ms/</a:t>
            </a:r>
            <a:r>
              <a:rPr lang="en-GB" err="1"/>
              <a:t>bc</a:t>
            </a:r>
            <a:r>
              <a:rPr lang="en-GB" err="1">
                <a:solidFill>
                  <a:schemeClr val="accent1">
                    <a:lumMod val="75000"/>
                  </a:schemeClr>
                </a:solidFill>
              </a:rPr>
              <a:t>Purchasing</a:t>
            </a:r>
            <a:r>
              <a:rPr lang="en-GB" err="1"/>
              <a:t>Analytics</a:t>
            </a:r>
            <a:endParaRPr lang="en-GB"/>
          </a:p>
          <a:p>
            <a:r>
              <a:rPr lang="en-GB"/>
              <a:t>aka.ms/</a:t>
            </a:r>
            <a:r>
              <a:rPr lang="en-GB" err="1"/>
              <a:t>bc</a:t>
            </a:r>
            <a:r>
              <a:rPr lang="en-GB" err="1">
                <a:solidFill>
                  <a:schemeClr val="accent1">
                    <a:lumMod val="75000"/>
                  </a:schemeClr>
                </a:solidFill>
              </a:rPr>
              <a:t>FixedAssets</a:t>
            </a:r>
            <a:r>
              <a:rPr lang="en-GB" err="1"/>
              <a:t>Analytics</a:t>
            </a:r>
            <a:endParaRPr lang="en-GB"/>
          </a:p>
          <a:p>
            <a:r>
              <a:rPr lang="en-GB"/>
              <a:t>aka.ms/</a:t>
            </a:r>
            <a:r>
              <a:rPr lang="en-GB" err="1"/>
              <a:t>bc</a:t>
            </a:r>
            <a:r>
              <a:rPr lang="en-GB" err="1">
                <a:solidFill>
                  <a:schemeClr val="accent1">
                    <a:lumMod val="75000"/>
                  </a:schemeClr>
                </a:solidFill>
              </a:rPr>
              <a:t>Project</a:t>
            </a:r>
            <a:r>
              <a:rPr lang="en-GB" err="1"/>
              <a:t>Analytics</a:t>
            </a:r>
            <a:endParaRPr lang="en-GB"/>
          </a:p>
          <a:p>
            <a:r>
              <a:rPr lang="en-GB"/>
              <a:t>aka.ms/</a:t>
            </a:r>
            <a:r>
              <a:rPr lang="en-GB" err="1"/>
              <a:t>bc</a:t>
            </a:r>
            <a:r>
              <a:rPr lang="en-GB" err="1">
                <a:solidFill>
                  <a:schemeClr val="accent1">
                    <a:lumMod val="75000"/>
                  </a:schemeClr>
                </a:solidFill>
              </a:rPr>
              <a:t>Inventory</a:t>
            </a:r>
            <a:r>
              <a:rPr lang="en-GB" err="1"/>
              <a:t>Analytics</a:t>
            </a:r>
            <a:endParaRPr lang="en-GB"/>
          </a:p>
          <a:p>
            <a:r>
              <a:rPr lang="en-GB"/>
              <a:t>aka.ms/</a:t>
            </a:r>
            <a:r>
              <a:rPr lang="en-GB" err="1"/>
              <a:t>bc</a:t>
            </a:r>
            <a:r>
              <a:rPr lang="en-GB" err="1">
                <a:solidFill>
                  <a:schemeClr val="accent1">
                    <a:lumMod val="75000"/>
                  </a:schemeClr>
                </a:solidFill>
              </a:rPr>
              <a:t>Manufacturing</a:t>
            </a:r>
            <a:r>
              <a:rPr lang="en-GB" err="1"/>
              <a:t>Analytics</a:t>
            </a:r>
            <a:endParaRPr lang="en-GB"/>
          </a:p>
        </p:txBody>
      </p:sp>
    </p:spTree>
    <p:extLst>
      <p:ext uri="{BB962C8B-B14F-4D97-AF65-F5344CB8AC3E}">
        <p14:creationId xmlns:p14="http://schemas.microsoft.com/office/powerpoint/2010/main" val="887695484"/>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23C8A9-9B1C-2FE7-5859-16DEE8AFA97C}"/>
              </a:ext>
            </a:extLst>
          </p:cNvPr>
          <p:cNvPicPr>
            <a:picLocks noChangeAspect="1"/>
          </p:cNvPicPr>
          <p:nvPr/>
        </p:nvPicPr>
        <p:blipFill>
          <a:blip r:embed="rId3"/>
          <a:srcRect/>
          <a:stretch/>
        </p:blipFill>
        <p:spPr>
          <a:xfrm>
            <a:off x="191280" y="710023"/>
            <a:ext cx="11064456" cy="6341348"/>
          </a:xfrm>
          <a:prstGeom prst="rect">
            <a:avLst/>
          </a:prstGeom>
        </p:spPr>
      </p:pic>
      <p:sp>
        <p:nvSpPr>
          <p:cNvPr id="6" name="TextBox 5">
            <a:extLst>
              <a:ext uri="{FF2B5EF4-FFF2-40B4-BE49-F238E27FC236}">
                <a16:creationId xmlns:a16="http://schemas.microsoft.com/office/drawing/2014/main" id="{69158C1A-76F0-EB60-A33A-F85C0DA9C4E7}"/>
              </a:ext>
            </a:extLst>
          </p:cNvPr>
          <p:cNvSpPr txBox="1"/>
          <p:nvPr/>
        </p:nvSpPr>
        <p:spPr>
          <a:xfrm>
            <a:off x="388247" y="2109635"/>
            <a:ext cx="1745353" cy="205197"/>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
        <p:nvSpPr>
          <p:cNvPr id="9" name="Title 2">
            <a:extLst>
              <a:ext uri="{FF2B5EF4-FFF2-40B4-BE49-F238E27FC236}">
                <a16:creationId xmlns:a16="http://schemas.microsoft.com/office/drawing/2014/main" id="{76222177-BF97-6B1E-9D94-3CBA2D17DBC3}"/>
              </a:ext>
            </a:extLst>
          </p:cNvPr>
          <p:cNvSpPr txBox="1">
            <a:spLocks/>
          </p:cNvSpPr>
          <p:nvPr/>
        </p:nvSpPr>
        <p:spPr>
          <a:xfrm>
            <a:off x="41190" y="37071"/>
            <a:ext cx="11018520" cy="553998"/>
          </a:xfrm>
          <a:prstGeom prst="rect">
            <a:avLst/>
          </a:prstGeom>
        </p:spPr>
        <p:txBody>
          <a:bodyPr wrap="square" anchor="t">
            <a:normAutofit fontScale="92500" lnSpcReduction="1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Example: Financial Analytics</a:t>
            </a:r>
          </a:p>
        </p:txBody>
      </p:sp>
      <p:sp>
        <p:nvSpPr>
          <p:cNvPr id="4" name="TextBox 3">
            <a:extLst>
              <a:ext uri="{FF2B5EF4-FFF2-40B4-BE49-F238E27FC236}">
                <a16:creationId xmlns:a16="http://schemas.microsoft.com/office/drawing/2014/main" id="{7265AF78-9D99-6D84-91E4-765362E28BF2}"/>
              </a:ext>
            </a:extLst>
          </p:cNvPr>
          <p:cNvSpPr txBox="1"/>
          <p:nvPr/>
        </p:nvSpPr>
        <p:spPr>
          <a:xfrm>
            <a:off x="388247" y="2543434"/>
            <a:ext cx="2396142" cy="3999470"/>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357609087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EAE4DC"/>
        </a:solidFill>
        <a:effectLst/>
      </p:bgPr>
    </p:bg>
    <p:spTree>
      <p:nvGrpSpPr>
        <p:cNvPr id="1" name=""/>
        <p:cNvGrpSpPr/>
        <p:nvPr/>
      </p:nvGrpSpPr>
      <p:grpSpPr>
        <a:xfrm>
          <a:off x="0" y="0"/>
          <a:ext cx="0" cy="0"/>
          <a:chOff x="0" y="0"/>
          <a:chExt cx="0" cy="0"/>
        </a:xfrm>
      </p:grpSpPr>
      <p:sp>
        <p:nvSpPr>
          <p:cNvPr id="5" name="Graphic 86" descr="Icon of a media button">
            <a:extLst>
              <a:ext uri="{FF2B5EF4-FFF2-40B4-BE49-F238E27FC236}">
                <a16:creationId xmlns:a16="http://schemas.microsoft.com/office/drawing/2014/main" id="{6248381E-5734-4DBC-F1C3-FCE71B5B7CD9}"/>
              </a:ext>
            </a:extLst>
          </p:cNvPr>
          <p:cNvSpPr>
            <a:spLocks/>
          </p:cNvSpPr>
          <p:nvPr/>
        </p:nvSpPr>
        <p:spPr>
          <a:xfrm>
            <a:off x="6212580" y="2599601"/>
            <a:ext cx="396814" cy="396814"/>
          </a:xfrm>
          <a:custGeom>
            <a:avLst/>
            <a:gdLst>
              <a:gd name="connsiteX0" fmla="*/ 30956 w 171450"/>
              <a:gd name="connsiteY0" fmla="*/ 0 h 152400"/>
              <a:gd name="connsiteX1" fmla="*/ 140494 w 171450"/>
              <a:gd name="connsiteY1" fmla="*/ 0 h 152400"/>
              <a:gd name="connsiteX2" fmla="*/ 171402 w 171450"/>
              <a:gd name="connsiteY2" fmla="*/ 29204 h 152400"/>
              <a:gd name="connsiteX3" fmla="*/ 171450 w 171450"/>
              <a:gd name="connsiteY3" fmla="*/ 30956 h 152400"/>
              <a:gd name="connsiteX4" fmla="*/ 171450 w 171450"/>
              <a:gd name="connsiteY4" fmla="*/ 121444 h 152400"/>
              <a:gd name="connsiteX5" fmla="*/ 142246 w 171450"/>
              <a:gd name="connsiteY5" fmla="*/ 152352 h 152400"/>
              <a:gd name="connsiteX6" fmla="*/ 140494 w 171450"/>
              <a:gd name="connsiteY6" fmla="*/ 152400 h 152400"/>
              <a:gd name="connsiteX7" fmla="*/ 30956 w 171450"/>
              <a:gd name="connsiteY7" fmla="*/ 152400 h 152400"/>
              <a:gd name="connsiteX8" fmla="*/ 48 w 171450"/>
              <a:gd name="connsiteY8" fmla="*/ 123196 h 152400"/>
              <a:gd name="connsiteX9" fmla="*/ 0 w 171450"/>
              <a:gd name="connsiteY9" fmla="*/ 121444 h 152400"/>
              <a:gd name="connsiteX10" fmla="*/ 0 w 171450"/>
              <a:gd name="connsiteY10" fmla="*/ 30956 h 152400"/>
              <a:gd name="connsiteX11" fmla="*/ 29204 w 171450"/>
              <a:gd name="connsiteY11" fmla="*/ 48 h 152400"/>
              <a:gd name="connsiteX12" fmla="*/ 30956 w 171450"/>
              <a:gd name="connsiteY12" fmla="*/ 0 h 152400"/>
              <a:gd name="connsiteX13" fmla="*/ 140494 w 171450"/>
              <a:gd name="connsiteY13" fmla="*/ 0 h 152400"/>
              <a:gd name="connsiteX14" fmla="*/ 30956 w 171450"/>
              <a:gd name="connsiteY14" fmla="*/ 0 h 152400"/>
              <a:gd name="connsiteX15" fmla="*/ 67180 w 171450"/>
              <a:gd name="connsiteY15" fmla="*/ 53197 h 152400"/>
              <a:gd name="connsiteX16" fmla="*/ 66675 w 171450"/>
              <a:gd name="connsiteY16" fmla="*/ 55340 h 152400"/>
              <a:gd name="connsiteX17" fmla="*/ 66675 w 171450"/>
              <a:gd name="connsiteY17" fmla="*/ 97079 h 152400"/>
              <a:gd name="connsiteX18" fmla="*/ 71438 w 171450"/>
              <a:gd name="connsiteY18" fmla="*/ 101841 h 152400"/>
              <a:gd name="connsiteX19" fmla="*/ 73571 w 171450"/>
              <a:gd name="connsiteY19" fmla="*/ 101336 h 152400"/>
              <a:gd name="connsiteX20" fmla="*/ 115310 w 171450"/>
              <a:gd name="connsiteY20" fmla="*/ 80477 h 152400"/>
              <a:gd name="connsiteX21" fmla="*/ 117448 w 171450"/>
              <a:gd name="connsiteY21" fmla="*/ 74090 h 152400"/>
              <a:gd name="connsiteX22" fmla="*/ 115310 w 171450"/>
              <a:gd name="connsiteY22" fmla="*/ 71952 h 152400"/>
              <a:gd name="connsiteX23" fmla="*/ 73571 w 171450"/>
              <a:gd name="connsiteY23" fmla="*/ 51083 h 152400"/>
              <a:gd name="connsiteX24" fmla="*/ 67180 w 171450"/>
              <a:gd name="connsiteY24" fmla="*/ 53207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450" h="152400">
                <a:moveTo>
                  <a:pt x="30956" y="0"/>
                </a:moveTo>
                <a:lnTo>
                  <a:pt x="140494" y="0"/>
                </a:lnTo>
                <a:cubicBezTo>
                  <a:pt x="156910" y="-1"/>
                  <a:pt x="170473" y="12813"/>
                  <a:pt x="171402" y="29204"/>
                </a:cubicBezTo>
                <a:lnTo>
                  <a:pt x="171450" y="30956"/>
                </a:lnTo>
                <a:lnTo>
                  <a:pt x="171450" y="121444"/>
                </a:lnTo>
                <a:cubicBezTo>
                  <a:pt x="171451" y="137860"/>
                  <a:pt x="158637" y="151423"/>
                  <a:pt x="142246" y="152352"/>
                </a:cubicBezTo>
                <a:lnTo>
                  <a:pt x="140494" y="152400"/>
                </a:lnTo>
                <a:lnTo>
                  <a:pt x="30956" y="152400"/>
                </a:lnTo>
                <a:cubicBezTo>
                  <a:pt x="14540" y="152401"/>
                  <a:pt x="977" y="139587"/>
                  <a:pt x="48" y="123196"/>
                </a:cubicBezTo>
                <a:lnTo>
                  <a:pt x="0" y="121444"/>
                </a:lnTo>
                <a:lnTo>
                  <a:pt x="0" y="30956"/>
                </a:lnTo>
                <a:cubicBezTo>
                  <a:pt x="-1" y="14540"/>
                  <a:pt x="12813" y="977"/>
                  <a:pt x="29204" y="48"/>
                </a:cubicBezTo>
                <a:lnTo>
                  <a:pt x="30956" y="0"/>
                </a:lnTo>
                <a:lnTo>
                  <a:pt x="140494" y="0"/>
                </a:lnTo>
                <a:lnTo>
                  <a:pt x="30956" y="0"/>
                </a:lnTo>
                <a:close/>
                <a:moveTo>
                  <a:pt x="67180" y="53197"/>
                </a:moveTo>
                <a:cubicBezTo>
                  <a:pt x="66846" y="53862"/>
                  <a:pt x="66674" y="54596"/>
                  <a:pt x="66675" y="55340"/>
                </a:cubicBezTo>
                <a:lnTo>
                  <a:pt x="66675" y="97079"/>
                </a:lnTo>
                <a:cubicBezTo>
                  <a:pt x="66675" y="99709"/>
                  <a:pt x="68808" y="101841"/>
                  <a:pt x="71438" y="101841"/>
                </a:cubicBezTo>
                <a:cubicBezTo>
                  <a:pt x="72179" y="101841"/>
                  <a:pt x="72909" y="101668"/>
                  <a:pt x="73571" y="101336"/>
                </a:cubicBezTo>
                <a:lnTo>
                  <a:pt x="115310" y="80477"/>
                </a:lnTo>
                <a:cubicBezTo>
                  <a:pt x="117663" y="79303"/>
                  <a:pt x="118621" y="76444"/>
                  <a:pt x="117448" y="74090"/>
                </a:cubicBezTo>
                <a:cubicBezTo>
                  <a:pt x="116986" y="73163"/>
                  <a:pt x="116235" y="72414"/>
                  <a:pt x="115310" y="71952"/>
                </a:cubicBezTo>
                <a:lnTo>
                  <a:pt x="73571" y="51083"/>
                </a:lnTo>
                <a:cubicBezTo>
                  <a:pt x="71219" y="49904"/>
                  <a:pt x="68358" y="50855"/>
                  <a:pt x="67180" y="5320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2800">
              <a:latin typeface="Segoe UI Semibold"/>
              <a:cs typeface="Segoe UI" pitchFamily="34" charset="0"/>
            </a:endParaRPr>
          </a:p>
        </p:txBody>
      </p:sp>
      <p:sp>
        <p:nvSpPr>
          <p:cNvPr id="33" name="Title 23">
            <a:extLst>
              <a:ext uri="{FF2B5EF4-FFF2-40B4-BE49-F238E27FC236}">
                <a16:creationId xmlns:a16="http://schemas.microsoft.com/office/drawing/2014/main" id="{C5DE9C30-55BC-4C91-9FA0-3864FD294274}"/>
              </a:ext>
            </a:extLst>
          </p:cNvPr>
          <p:cNvSpPr>
            <a:spLocks noGrp="1"/>
          </p:cNvSpPr>
          <p:nvPr>
            <p:ph type="title"/>
          </p:nvPr>
        </p:nvSpPr>
        <p:spPr>
          <a:xfrm>
            <a:off x="588263" y="457200"/>
            <a:ext cx="11018520" cy="553998"/>
          </a:xfrm>
        </p:spPr>
        <p:txBody>
          <a:bodyPr/>
          <a:lstStyle/>
          <a:p>
            <a:r>
              <a:rPr lang="en-US"/>
              <a:t>General Business Central resources</a:t>
            </a:r>
          </a:p>
        </p:txBody>
      </p:sp>
      <p:sp>
        <p:nvSpPr>
          <p:cNvPr id="77" name="Text Placeholder 76">
            <a:extLst>
              <a:ext uri="{FF2B5EF4-FFF2-40B4-BE49-F238E27FC236}">
                <a16:creationId xmlns:a16="http://schemas.microsoft.com/office/drawing/2014/main" id="{C158774F-FAF8-25E4-A347-90479A0CC63B}"/>
              </a:ext>
            </a:extLst>
          </p:cNvPr>
          <p:cNvSpPr>
            <a:spLocks noGrp="1"/>
          </p:cNvSpPr>
          <p:nvPr>
            <p:ph type="body" sz="quarter" idx="11"/>
          </p:nvPr>
        </p:nvSpPr>
        <p:spPr>
          <a:xfrm>
            <a:off x="1885950" y="3852345"/>
            <a:ext cx="3709988" cy="369332"/>
          </a:xfrm>
        </p:spPr>
        <p:txBody>
          <a:bodyPr/>
          <a:lstStyle/>
          <a:p>
            <a:r>
              <a:rPr lang="en-US" noProof="0">
                <a:solidFill>
                  <a:schemeClr val="tx1"/>
                </a:solidFill>
              </a:rPr>
              <a:t>Have a question?</a:t>
            </a:r>
          </a:p>
        </p:txBody>
      </p:sp>
      <p:sp>
        <p:nvSpPr>
          <p:cNvPr id="78" name="Text Placeholder 77">
            <a:extLst>
              <a:ext uri="{FF2B5EF4-FFF2-40B4-BE49-F238E27FC236}">
                <a16:creationId xmlns:a16="http://schemas.microsoft.com/office/drawing/2014/main" id="{12191909-6950-ECB1-4836-9567494294A4}"/>
              </a:ext>
            </a:extLst>
          </p:cNvPr>
          <p:cNvSpPr>
            <a:spLocks noGrp="1"/>
          </p:cNvSpPr>
          <p:nvPr>
            <p:ph type="body" sz="quarter" idx="12"/>
          </p:nvPr>
        </p:nvSpPr>
        <p:spPr>
          <a:xfrm>
            <a:off x="1885346" y="4261188"/>
            <a:ext cx="3710313" cy="276999"/>
          </a:xfrm>
        </p:spPr>
        <p:txBody>
          <a:bodyPr/>
          <a:lstStyle/>
          <a:p>
            <a:r>
              <a:rPr lang="en-US">
                <a:solidFill>
                  <a:schemeClr val="accent1"/>
                </a:solidFill>
                <a:hlinkClick r:id="rId3"/>
              </a:rPr>
              <a:t>aka.ms/BCYammer</a:t>
            </a:r>
            <a:r>
              <a:rPr lang="en-US">
                <a:solidFill>
                  <a:schemeClr val="accent1"/>
                </a:solidFill>
              </a:rPr>
              <a:t> </a:t>
            </a:r>
          </a:p>
        </p:txBody>
      </p:sp>
      <p:sp>
        <p:nvSpPr>
          <p:cNvPr id="79" name="Text Placeholder 78">
            <a:extLst>
              <a:ext uri="{FF2B5EF4-FFF2-40B4-BE49-F238E27FC236}">
                <a16:creationId xmlns:a16="http://schemas.microsoft.com/office/drawing/2014/main" id="{55EBE494-F510-A1C9-D6E1-72CA2E9B0E86}"/>
              </a:ext>
            </a:extLst>
          </p:cNvPr>
          <p:cNvSpPr>
            <a:spLocks noGrp="1"/>
          </p:cNvSpPr>
          <p:nvPr>
            <p:ph type="body" sz="quarter" idx="13"/>
          </p:nvPr>
        </p:nvSpPr>
        <p:spPr>
          <a:xfrm>
            <a:off x="6983080" y="2478088"/>
            <a:ext cx="3709988" cy="369332"/>
          </a:xfrm>
        </p:spPr>
        <p:txBody>
          <a:bodyPr vert="horz" wrap="square" lIns="0" tIns="0" rIns="0" bIns="0" rtlCol="0" anchor="t">
            <a:spAutoFit/>
          </a:bodyPr>
          <a:lstStyle/>
          <a:p>
            <a:r>
              <a:rPr lang="en-US">
                <a:solidFill>
                  <a:schemeClr val="tx1"/>
                </a:solidFill>
                <a:cs typeface="Segoe UI"/>
              </a:rPr>
              <a:t>Watch more on YouTube</a:t>
            </a:r>
          </a:p>
        </p:txBody>
      </p:sp>
      <p:sp>
        <p:nvSpPr>
          <p:cNvPr id="80" name="Text Placeholder 79">
            <a:extLst>
              <a:ext uri="{FF2B5EF4-FFF2-40B4-BE49-F238E27FC236}">
                <a16:creationId xmlns:a16="http://schemas.microsoft.com/office/drawing/2014/main" id="{578942FC-7D97-0983-41CD-F8BB19B70C54}"/>
              </a:ext>
            </a:extLst>
          </p:cNvPr>
          <p:cNvSpPr>
            <a:spLocks noGrp="1"/>
          </p:cNvSpPr>
          <p:nvPr>
            <p:ph type="body" sz="quarter" idx="14"/>
          </p:nvPr>
        </p:nvSpPr>
        <p:spPr>
          <a:xfrm>
            <a:off x="6983038" y="2886931"/>
            <a:ext cx="3710313" cy="276999"/>
          </a:xfrm>
        </p:spPr>
        <p:txBody>
          <a:bodyPr/>
          <a:lstStyle/>
          <a:p>
            <a:r>
              <a:rPr lang="en-US">
                <a:solidFill>
                  <a:schemeClr val="accent1"/>
                </a:solidFill>
                <a:hlinkClick r:id="rId4"/>
              </a:rPr>
              <a:t>aka.ms/BCYouTube</a:t>
            </a:r>
            <a:endParaRPr lang="en-US">
              <a:solidFill>
                <a:schemeClr val="accent1"/>
              </a:solidFill>
            </a:endParaRPr>
          </a:p>
        </p:txBody>
      </p:sp>
      <p:sp>
        <p:nvSpPr>
          <p:cNvPr id="81" name="Text Placeholder 80">
            <a:extLst>
              <a:ext uri="{FF2B5EF4-FFF2-40B4-BE49-F238E27FC236}">
                <a16:creationId xmlns:a16="http://schemas.microsoft.com/office/drawing/2014/main" id="{5E649B45-6AD6-7E34-2610-C3056B04919E}"/>
              </a:ext>
            </a:extLst>
          </p:cNvPr>
          <p:cNvSpPr>
            <a:spLocks noGrp="1"/>
          </p:cNvSpPr>
          <p:nvPr>
            <p:ph type="body" sz="quarter" idx="15"/>
          </p:nvPr>
        </p:nvSpPr>
        <p:spPr>
          <a:xfrm>
            <a:off x="1853366" y="2525959"/>
            <a:ext cx="3709988" cy="369332"/>
          </a:xfrm>
        </p:spPr>
        <p:txBody>
          <a:bodyPr/>
          <a:lstStyle/>
          <a:p>
            <a:r>
              <a:rPr lang="en-US">
                <a:solidFill>
                  <a:schemeClr val="tx1"/>
                </a:solidFill>
              </a:rPr>
              <a:t>Looking for resources?</a:t>
            </a:r>
          </a:p>
        </p:txBody>
      </p:sp>
      <p:sp>
        <p:nvSpPr>
          <p:cNvPr id="82" name="Text Placeholder 81">
            <a:extLst>
              <a:ext uri="{FF2B5EF4-FFF2-40B4-BE49-F238E27FC236}">
                <a16:creationId xmlns:a16="http://schemas.microsoft.com/office/drawing/2014/main" id="{6E55CD1D-71C1-5F36-5E6E-92BC758035E4}"/>
              </a:ext>
            </a:extLst>
          </p:cNvPr>
          <p:cNvSpPr>
            <a:spLocks noGrp="1"/>
          </p:cNvSpPr>
          <p:nvPr>
            <p:ph type="body" sz="quarter" idx="16"/>
          </p:nvPr>
        </p:nvSpPr>
        <p:spPr>
          <a:xfrm>
            <a:off x="1852762" y="2936048"/>
            <a:ext cx="3710313" cy="276999"/>
          </a:xfrm>
        </p:spPr>
        <p:txBody>
          <a:bodyPr/>
          <a:lstStyle/>
          <a:p>
            <a:r>
              <a:rPr lang="en-US">
                <a:solidFill>
                  <a:schemeClr val="accent1"/>
                </a:solidFill>
                <a:hlinkClick r:id="rId5"/>
              </a:rPr>
              <a:t>aka.ms/BCAll</a:t>
            </a:r>
            <a:endParaRPr lang="en-US">
              <a:solidFill>
                <a:schemeClr val="accent1"/>
              </a:solidFill>
            </a:endParaRPr>
          </a:p>
        </p:txBody>
      </p:sp>
      <p:sp>
        <p:nvSpPr>
          <p:cNvPr id="83" name="Text Placeholder 82">
            <a:extLst>
              <a:ext uri="{FF2B5EF4-FFF2-40B4-BE49-F238E27FC236}">
                <a16:creationId xmlns:a16="http://schemas.microsoft.com/office/drawing/2014/main" id="{21678A59-9295-51B8-E2A6-9533F0082F28}"/>
              </a:ext>
            </a:extLst>
          </p:cNvPr>
          <p:cNvSpPr>
            <a:spLocks noGrp="1"/>
          </p:cNvSpPr>
          <p:nvPr>
            <p:ph type="body" sz="quarter" idx="17"/>
          </p:nvPr>
        </p:nvSpPr>
        <p:spPr>
          <a:xfrm>
            <a:off x="6966581" y="5137253"/>
            <a:ext cx="4409682" cy="369332"/>
          </a:xfrm>
        </p:spPr>
        <p:txBody>
          <a:bodyPr/>
          <a:lstStyle/>
          <a:p>
            <a:r>
              <a:rPr lang="en-US">
                <a:solidFill>
                  <a:schemeClr val="tx1"/>
                </a:solidFill>
              </a:rPr>
              <a:t>Transform site for partners</a:t>
            </a:r>
          </a:p>
        </p:txBody>
      </p:sp>
      <p:sp>
        <p:nvSpPr>
          <p:cNvPr id="84" name="Text Placeholder 83">
            <a:extLst>
              <a:ext uri="{FF2B5EF4-FFF2-40B4-BE49-F238E27FC236}">
                <a16:creationId xmlns:a16="http://schemas.microsoft.com/office/drawing/2014/main" id="{A8322CBD-3014-4C99-0368-7C3B24CC950A}"/>
              </a:ext>
            </a:extLst>
          </p:cNvPr>
          <p:cNvSpPr>
            <a:spLocks noGrp="1"/>
          </p:cNvSpPr>
          <p:nvPr>
            <p:ph type="body" sz="quarter" idx="18"/>
          </p:nvPr>
        </p:nvSpPr>
        <p:spPr>
          <a:xfrm>
            <a:off x="6965977" y="5547002"/>
            <a:ext cx="3710313" cy="276999"/>
          </a:xfrm>
        </p:spPr>
        <p:txBody>
          <a:bodyPr/>
          <a:lstStyle/>
          <a:p>
            <a:r>
              <a:rPr lang="en-US">
                <a:solidFill>
                  <a:schemeClr val="accent1"/>
                </a:solidFill>
                <a:hlinkClick r:id="rId6"/>
              </a:rPr>
              <a:t>aka.ms/BCPartnerPortal</a:t>
            </a:r>
            <a:r>
              <a:rPr lang="en-US">
                <a:solidFill>
                  <a:schemeClr val="accent1"/>
                </a:solidFill>
              </a:rPr>
              <a:t> </a:t>
            </a:r>
          </a:p>
        </p:txBody>
      </p:sp>
      <p:sp>
        <p:nvSpPr>
          <p:cNvPr id="85" name="Text Placeholder 84">
            <a:extLst>
              <a:ext uri="{FF2B5EF4-FFF2-40B4-BE49-F238E27FC236}">
                <a16:creationId xmlns:a16="http://schemas.microsoft.com/office/drawing/2014/main" id="{6132D4A0-D9FF-ECC8-6831-163C22B54FFC}"/>
              </a:ext>
            </a:extLst>
          </p:cNvPr>
          <p:cNvSpPr>
            <a:spLocks noGrp="1"/>
          </p:cNvSpPr>
          <p:nvPr>
            <p:ph type="body" sz="quarter" idx="19"/>
          </p:nvPr>
        </p:nvSpPr>
        <p:spPr>
          <a:xfrm>
            <a:off x="6983080" y="3811588"/>
            <a:ext cx="4227926" cy="369332"/>
          </a:xfrm>
        </p:spPr>
        <p:txBody>
          <a:bodyPr/>
          <a:lstStyle/>
          <a:p>
            <a:r>
              <a:rPr lang="en-US">
                <a:solidFill>
                  <a:schemeClr val="tx1"/>
                </a:solidFill>
              </a:rPr>
              <a:t>Follow on LinkedIn</a:t>
            </a:r>
          </a:p>
        </p:txBody>
      </p:sp>
      <p:sp>
        <p:nvSpPr>
          <p:cNvPr id="86" name="Text Placeholder 85">
            <a:extLst>
              <a:ext uri="{FF2B5EF4-FFF2-40B4-BE49-F238E27FC236}">
                <a16:creationId xmlns:a16="http://schemas.microsoft.com/office/drawing/2014/main" id="{CAABBFAC-A175-491E-4E15-64F40D38DCC7}"/>
              </a:ext>
            </a:extLst>
          </p:cNvPr>
          <p:cNvSpPr>
            <a:spLocks noGrp="1"/>
          </p:cNvSpPr>
          <p:nvPr>
            <p:ph type="body" sz="quarter" idx="20"/>
          </p:nvPr>
        </p:nvSpPr>
        <p:spPr>
          <a:xfrm>
            <a:off x="6983037" y="4221677"/>
            <a:ext cx="3710313" cy="276999"/>
          </a:xfrm>
        </p:spPr>
        <p:txBody>
          <a:bodyPr/>
          <a:lstStyle/>
          <a:p>
            <a:r>
              <a:rPr lang="en-US">
                <a:solidFill>
                  <a:schemeClr val="accent1"/>
                </a:solidFill>
                <a:hlinkClick r:id="rId7"/>
              </a:rPr>
              <a:t>aka.ms/BCLinkedIn</a:t>
            </a:r>
            <a:endParaRPr lang="en-US">
              <a:solidFill>
                <a:schemeClr val="accent1"/>
              </a:solidFill>
            </a:endParaRPr>
          </a:p>
        </p:txBody>
      </p:sp>
      <p:sp>
        <p:nvSpPr>
          <p:cNvPr id="87" name="Text Placeholder 86">
            <a:extLst>
              <a:ext uri="{FF2B5EF4-FFF2-40B4-BE49-F238E27FC236}">
                <a16:creationId xmlns:a16="http://schemas.microsoft.com/office/drawing/2014/main" id="{B6708371-332E-43D9-5417-5B47057C6FE8}"/>
              </a:ext>
            </a:extLst>
          </p:cNvPr>
          <p:cNvSpPr>
            <a:spLocks noGrp="1"/>
          </p:cNvSpPr>
          <p:nvPr>
            <p:ph type="body" sz="quarter" idx="21"/>
          </p:nvPr>
        </p:nvSpPr>
        <p:spPr>
          <a:xfrm>
            <a:off x="1885346" y="5097141"/>
            <a:ext cx="3709988" cy="369332"/>
          </a:xfrm>
        </p:spPr>
        <p:txBody>
          <a:bodyPr/>
          <a:lstStyle/>
          <a:p>
            <a:r>
              <a:rPr lang="en-US">
                <a:solidFill>
                  <a:schemeClr val="tx1"/>
                </a:solidFill>
              </a:rPr>
              <a:t>Join the office hours</a:t>
            </a:r>
          </a:p>
        </p:txBody>
      </p:sp>
      <p:sp>
        <p:nvSpPr>
          <p:cNvPr id="88" name="Text Placeholder 87">
            <a:extLst>
              <a:ext uri="{FF2B5EF4-FFF2-40B4-BE49-F238E27FC236}">
                <a16:creationId xmlns:a16="http://schemas.microsoft.com/office/drawing/2014/main" id="{A8A9B6E2-6B02-6181-DB8C-C96E19828B3A}"/>
              </a:ext>
            </a:extLst>
          </p:cNvPr>
          <p:cNvSpPr>
            <a:spLocks noGrp="1"/>
          </p:cNvSpPr>
          <p:nvPr>
            <p:ph type="body" sz="quarter" idx="22"/>
          </p:nvPr>
        </p:nvSpPr>
        <p:spPr>
          <a:xfrm>
            <a:off x="1885303" y="5506890"/>
            <a:ext cx="3710313" cy="276999"/>
          </a:xfrm>
        </p:spPr>
        <p:txBody>
          <a:bodyPr/>
          <a:lstStyle/>
          <a:p>
            <a:pPr lvl="0"/>
            <a:r>
              <a:rPr lang="en-US" noProof="0">
                <a:solidFill>
                  <a:schemeClr val="accent1"/>
                </a:solidFill>
                <a:hlinkClick r:id="rId8"/>
              </a:rPr>
              <a:t>aka.ms/BCOfficeHours</a:t>
            </a:r>
            <a:r>
              <a:rPr lang="en-US" noProof="0">
                <a:solidFill>
                  <a:schemeClr val="accent1"/>
                </a:solidFill>
              </a:rPr>
              <a:t> </a:t>
            </a:r>
          </a:p>
        </p:txBody>
      </p:sp>
      <p:sp>
        <p:nvSpPr>
          <p:cNvPr id="15" name="Rounded Rectangle 18" descr="Announcing&#10;">
            <a:extLst>
              <a:ext uri="{FF2B5EF4-FFF2-40B4-BE49-F238E27FC236}">
                <a16:creationId xmlns:a16="http://schemas.microsoft.com/office/drawing/2014/main" id="{228B82AB-3AE6-AE47-E367-3123D2FD8B6B}"/>
              </a:ext>
            </a:extLst>
          </p:cNvPr>
          <p:cNvSpPr/>
          <p:nvPr/>
        </p:nvSpPr>
        <p:spPr bwMode="auto">
          <a:xfrm>
            <a:off x="521019" y="1164206"/>
            <a:ext cx="1828481" cy="507881"/>
          </a:xfrm>
          <a:prstGeom prst="roundRect">
            <a:avLst>
              <a:gd name="adj" fmla="val 50000"/>
            </a:avLst>
          </a:prstGeom>
          <a:gradFill>
            <a:gsLst>
              <a:gs pos="28000">
                <a:schemeClr val="accent3"/>
              </a:gs>
              <a:gs pos="68000">
                <a:schemeClr val="accent1"/>
              </a:gs>
              <a:gs pos="100000">
                <a:schemeClr val="accent5"/>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CA"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2" name="TextBox 11">
            <a:extLst>
              <a:ext uri="{FF2B5EF4-FFF2-40B4-BE49-F238E27FC236}">
                <a16:creationId xmlns:a16="http://schemas.microsoft.com/office/drawing/2014/main" id="{8FAD56AA-C064-FF26-EAD8-D59E94D98762}"/>
              </a:ext>
            </a:extLst>
          </p:cNvPr>
          <p:cNvSpPr txBox="1"/>
          <p:nvPr/>
        </p:nvSpPr>
        <p:spPr>
          <a:xfrm>
            <a:off x="714597" y="1233480"/>
            <a:ext cx="1441324" cy="369332"/>
          </a:xfrm>
          <a:prstGeom prst="rect">
            <a:avLst/>
          </a:prstGeom>
          <a:noFill/>
        </p:spPr>
        <p:txBody>
          <a:bodyPr wrap="square" anchor="ctr">
            <a:spAutoFit/>
          </a:bodyPr>
          <a:lstStyle/>
          <a:p>
            <a:pPr algn="ctr"/>
            <a:r>
              <a:rPr lang="en-US">
                <a:solidFill>
                  <a:schemeClr val="bg1"/>
                </a:solidFill>
                <a:latin typeface="+mj-lt"/>
              </a:rPr>
              <a:t>Learn more!</a:t>
            </a:r>
          </a:p>
        </p:txBody>
      </p:sp>
      <p:sp>
        <p:nvSpPr>
          <p:cNvPr id="24" name="Graphic 44">
            <a:extLst>
              <a:ext uri="{FF2B5EF4-FFF2-40B4-BE49-F238E27FC236}">
                <a16:creationId xmlns:a16="http://schemas.microsoft.com/office/drawing/2014/main" id="{CBA35278-4950-C20A-DDA0-AF91FF72AD53}"/>
              </a:ext>
              <a:ext uri="{C183D7F6-B498-43B3-948B-1728B52AA6E4}">
                <adec:decorative xmlns:adec="http://schemas.microsoft.com/office/drawing/2017/decorative" val="1"/>
              </a:ext>
            </a:extLst>
          </p:cNvPr>
          <p:cNvSpPr/>
          <p:nvPr/>
        </p:nvSpPr>
        <p:spPr>
          <a:xfrm>
            <a:off x="1131949" y="3973858"/>
            <a:ext cx="442316" cy="442316"/>
          </a:xfrm>
          <a:custGeom>
            <a:avLst/>
            <a:gdLst>
              <a:gd name="connsiteX0" fmla="*/ 342900 w 381000"/>
              <a:gd name="connsiteY0" fmla="*/ 61913 h 381000"/>
              <a:gd name="connsiteX1" fmla="*/ 280988 w 381000"/>
              <a:gd name="connsiteY1" fmla="*/ 0 h 381000"/>
              <a:gd name="connsiteX2" fmla="*/ 61913 w 381000"/>
              <a:gd name="connsiteY2" fmla="*/ 0 h 381000"/>
              <a:gd name="connsiteX3" fmla="*/ 0 w 381000"/>
              <a:gd name="connsiteY3" fmla="*/ 61913 h 381000"/>
              <a:gd name="connsiteX4" fmla="*/ 0 w 381000"/>
              <a:gd name="connsiteY4" fmla="*/ 76200 h 381000"/>
              <a:gd name="connsiteX5" fmla="*/ 342900 w 381000"/>
              <a:gd name="connsiteY5" fmla="*/ 76200 h 381000"/>
              <a:gd name="connsiteX6" fmla="*/ 342900 w 381000"/>
              <a:gd name="connsiteY6" fmla="*/ 61913 h 381000"/>
              <a:gd name="connsiteX7" fmla="*/ 342900 w 381000"/>
              <a:gd name="connsiteY7" fmla="*/ 171865 h 381000"/>
              <a:gd name="connsiteX8" fmla="*/ 342900 w 381000"/>
              <a:gd name="connsiteY8" fmla="*/ 104775 h 381000"/>
              <a:gd name="connsiteX9" fmla="*/ 0 w 381000"/>
              <a:gd name="connsiteY9" fmla="*/ 104775 h 381000"/>
              <a:gd name="connsiteX10" fmla="*/ 0 w 381000"/>
              <a:gd name="connsiteY10" fmla="*/ 280988 h 381000"/>
              <a:gd name="connsiteX11" fmla="*/ 61913 w 381000"/>
              <a:gd name="connsiteY11" fmla="*/ 342900 h 381000"/>
              <a:gd name="connsiteX12" fmla="*/ 171865 w 381000"/>
              <a:gd name="connsiteY12" fmla="*/ 342900 h 381000"/>
              <a:gd name="connsiteX13" fmla="*/ 152400 w 381000"/>
              <a:gd name="connsiteY13" fmla="*/ 276225 h 381000"/>
              <a:gd name="connsiteX14" fmla="*/ 276225 w 381000"/>
              <a:gd name="connsiteY14" fmla="*/ 152400 h 381000"/>
              <a:gd name="connsiteX15" fmla="*/ 342900 w 381000"/>
              <a:gd name="connsiteY15" fmla="*/ 17186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64328 w 381000"/>
              <a:gd name="connsiteY21" fmla="*/ 331003 h 381000"/>
              <a:gd name="connsiteX22" fmla="*/ 276225 w 381000"/>
              <a:gd name="connsiteY22" fmla="*/ 319107 h 381000"/>
              <a:gd name="connsiteX23" fmla="*/ 288122 w 381000"/>
              <a:gd name="connsiteY23" fmla="*/ 331003 h 381000"/>
              <a:gd name="connsiteX24" fmla="*/ 276225 w 381000"/>
              <a:gd name="connsiteY24" fmla="*/ 342900 h 381000"/>
              <a:gd name="connsiteX25" fmla="*/ 264328 w 381000"/>
              <a:gd name="connsiteY25" fmla="*/ 331003 h 381000"/>
              <a:gd name="connsiteX26" fmla="*/ 240920 w 381000"/>
              <a:gd name="connsiteY26" fmla="*/ 244381 h 381000"/>
              <a:gd name="connsiteX27" fmla="*/ 276225 w 381000"/>
              <a:gd name="connsiteY27" fmla="*/ 207152 h 381000"/>
              <a:gd name="connsiteX28" fmla="*/ 311532 w 381000"/>
              <a:gd name="connsiteY28" fmla="*/ 244290 h 381000"/>
              <a:gd name="connsiteX29" fmla="*/ 301468 w 381000"/>
              <a:gd name="connsiteY29" fmla="*/ 268914 h 381000"/>
              <a:gd name="connsiteX30" fmla="*/ 298904 w 381000"/>
              <a:gd name="connsiteY30" fmla="*/ 271868 h 381000"/>
              <a:gd name="connsiteX31" fmla="*/ 293841 w 381000"/>
              <a:gd name="connsiteY31" fmla="*/ 277400 h 381000"/>
              <a:gd name="connsiteX32" fmla="*/ 291918 w 381000"/>
              <a:gd name="connsiteY32" fmla="*/ 279601 h 381000"/>
              <a:gd name="connsiteX33" fmla="*/ 290301 w 381000"/>
              <a:gd name="connsiteY33" fmla="*/ 281584 h 381000"/>
              <a:gd name="connsiteX34" fmla="*/ 285750 w 381000"/>
              <a:gd name="connsiteY34" fmla="*/ 292829 h 381000"/>
              <a:gd name="connsiteX35" fmla="*/ 276225 w 381000"/>
              <a:gd name="connsiteY35" fmla="*/ 302354 h 381000"/>
              <a:gd name="connsiteX36" fmla="*/ 266700 w 381000"/>
              <a:gd name="connsiteY36" fmla="*/ 292829 h 381000"/>
              <a:gd name="connsiteX37" fmla="*/ 276886 w 381000"/>
              <a:gd name="connsiteY37" fmla="*/ 267872 h 381000"/>
              <a:gd name="connsiteX38" fmla="*/ 279484 w 381000"/>
              <a:gd name="connsiteY38" fmla="*/ 264877 h 381000"/>
              <a:gd name="connsiteX39" fmla="*/ 284540 w 381000"/>
              <a:gd name="connsiteY39" fmla="*/ 259351 h 381000"/>
              <a:gd name="connsiteX40" fmla="*/ 286426 w 381000"/>
              <a:gd name="connsiteY40" fmla="*/ 257192 h 381000"/>
              <a:gd name="connsiteX41" fmla="*/ 288217 w 381000"/>
              <a:gd name="connsiteY41" fmla="*/ 254986 h 381000"/>
              <a:gd name="connsiteX42" fmla="*/ 292482 w 381000"/>
              <a:gd name="connsiteY42" fmla="*/ 244290 h 381000"/>
              <a:gd name="connsiteX43" fmla="*/ 276225 w 381000"/>
              <a:gd name="connsiteY43" fmla="*/ 226202 h 381000"/>
              <a:gd name="connsiteX44" fmla="*/ 259968 w 381000"/>
              <a:gd name="connsiteY44" fmla="*/ 244198 h 381000"/>
              <a:gd name="connsiteX45" fmla="*/ 250534 w 381000"/>
              <a:gd name="connsiteY45" fmla="*/ 253813 h 381000"/>
              <a:gd name="connsiteX46" fmla="*/ 240920 w 381000"/>
              <a:gd name="connsiteY46" fmla="*/ 24438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1000" h="381000">
                <a:moveTo>
                  <a:pt x="342900" y="61913"/>
                </a:moveTo>
                <a:cubicBezTo>
                  <a:pt x="342900" y="27719"/>
                  <a:pt x="315180" y="0"/>
                  <a:pt x="280988" y="0"/>
                </a:cubicBezTo>
                <a:lnTo>
                  <a:pt x="61913" y="0"/>
                </a:lnTo>
                <a:cubicBezTo>
                  <a:pt x="27719" y="0"/>
                  <a:pt x="0" y="27719"/>
                  <a:pt x="0" y="61913"/>
                </a:cubicBezTo>
                <a:lnTo>
                  <a:pt x="0" y="76200"/>
                </a:lnTo>
                <a:lnTo>
                  <a:pt x="342900" y="76200"/>
                </a:lnTo>
                <a:lnTo>
                  <a:pt x="342900" y="61913"/>
                </a:lnTo>
                <a:close/>
                <a:moveTo>
                  <a:pt x="342900" y="171865"/>
                </a:moveTo>
                <a:lnTo>
                  <a:pt x="342900" y="104775"/>
                </a:lnTo>
                <a:lnTo>
                  <a:pt x="0" y="104775"/>
                </a:lnTo>
                <a:lnTo>
                  <a:pt x="0" y="280988"/>
                </a:lnTo>
                <a:cubicBezTo>
                  <a:pt x="0" y="315180"/>
                  <a:pt x="27719" y="342900"/>
                  <a:pt x="61913" y="342900"/>
                </a:cubicBezTo>
                <a:lnTo>
                  <a:pt x="171865" y="342900"/>
                </a:lnTo>
                <a:cubicBezTo>
                  <a:pt x="159544" y="323654"/>
                  <a:pt x="152400" y="300773"/>
                  <a:pt x="152400" y="276225"/>
                </a:cubicBezTo>
                <a:cubicBezTo>
                  <a:pt x="152400" y="207837"/>
                  <a:pt x="207837" y="152400"/>
                  <a:pt x="276225" y="152400"/>
                </a:cubicBezTo>
                <a:cubicBezTo>
                  <a:pt x="300773" y="152400"/>
                  <a:pt x="323654" y="159544"/>
                  <a:pt x="342900" y="171865"/>
                </a:cubicBez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64328" y="331003"/>
                </a:moveTo>
                <a:cubicBezTo>
                  <a:pt x="264328" y="324433"/>
                  <a:pt x="269655" y="319107"/>
                  <a:pt x="276225" y="319107"/>
                </a:cubicBezTo>
                <a:cubicBezTo>
                  <a:pt x="282795" y="319107"/>
                  <a:pt x="288122" y="324433"/>
                  <a:pt x="288122" y="331003"/>
                </a:cubicBezTo>
                <a:cubicBezTo>
                  <a:pt x="288122" y="337574"/>
                  <a:pt x="282795" y="342900"/>
                  <a:pt x="276225" y="342900"/>
                </a:cubicBezTo>
                <a:cubicBezTo>
                  <a:pt x="269655" y="342900"/>
                  <a:pt x="264328" y="337574"/>
                  <a:pt x="264328" y="331003"/>
                </a:cubicBezTo>
                <a:close/>
                <a:moveTo>
                  <a:pt x="240920" y="244381"/>
                </a:moveTo>
                <a:cubicBezTo>
                  <a:pt x="240712" y="222723"/>
                  <a:pt x="256263" y="207152"/>
                  <a:pt x="276225" y="207152"/>
                </a:cubicBezTo>
                <a:cubicBezTo>
                  <a:pt x="295867" y="207152"/>
                  <a:pt x="311532" y="223264"/>
                  <a:pt x="311532" y="244290"/>
                </a:cubicBezTo>
                <a:cubicBezTo>
                  <a:pt x="311532" y="253994"/>
                  <a:pt x="308675" y="260324"/>
                  <a:pt x="301468" y="268914"/>
                </a:cubicBezTo>
                <a:lnTo>
                  <a:pt x="298904" y="271868"/>
                </a:lnTo>
                <a:lnTo>
                  <a:pt x="293841" y="277400"/>
                </a:lnTo>
                <a:lnTo>
                  <a:pt x="291918" y="279601"/>
                </a:lnTo>
                <a:lnTo>
                  <a:pt x="290301" y="281584"/>
                </a:lnTo>
                <a:cubicBezTo>
                  <a:pt x="286864" y="285990"/>
                  <a:pt x="285750" y="288958"/>
                  <a:pt x="285750" y="292829"/>
                </a:cubicBezTo>
                <a:cubicBezTo>
                  <a:pt x="285750" y="298089"/>
                  <a:pt x="281487" y="302354"/>
                  <a:pt x="276225" y="302354"/>
                </a:cubicBezTo>
                <a:cubicBezTo>
                  <a:pt x="270965" y="302354"/>
                  <a:pt x="266700" y="298089"/>
                  <a:pt x="266700" y="292829"/>
                </a:cubicBezTo>
                <a:cubicBezTo>
                  <a:pt x="266700" y="282969"/>
                  <a:pt x="269582" y="276572"/>
                  <a:pt x="276886" y="267872"/>
                </a:cubicBezTo>
                <a:lnTo>
                  <a:pt x="279484" y="264877"/>
                </a:lnTo>
                <a:lnTo>
                  <a:pt x="284540" y="259351"/>
                </a:lnTo>
                <a:lnTo>
                  <a:pt x="286426" y="257192"/>
                </a:lnTo>
                <a:lnTo>
                  <a:pt x="288217" y="254986"/>
                </a:lnTo>
                <a:cubicBezTo>
                  <a:pt x="291429" y="250810"/>
                  <a:pt x="292482" y="247951"/>
                  <a:pt x="292482" y="244290"/>
                </a:cubicBezTo>
                <a:cubicBezTo>
                  <a:pt x="292482" y="233667"/>
                  <a:pt x="285224" y="226202"/>
                  <a:pt x="276225" y="226202"/>
                </a:cubicBezTo>
                <a:cubicBezTo>
                  <a:pt x="266820" y="226202"/>
                  <a:pt x="259863" y="233168"/>
                  <a:pt x="259968" y="244198"/>
                </a:cubicBezTo>
                <a:cubicBezTo>
                  <a:pt x="260019" y="249458"/>
                  <a:pt x="255796" y="253763"/>
                  <a:pt x="250534" y="253813"/>
                </a:cubicBezTo>
                <a:cubicBezTo>
                  <a:pt x="245274" y="253864"/>
                  <a:pt x="240969" y="249641"/>
                  <a:pt x="240920" y="244381"/>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5" name="Graphic 38">
            <a:extLst>
              <a:ext uri="{FF2B5EF4-FFF2-40B4-BE49-F238E27FC236}">
                <a16:creationId xmlns:a16="http://schemas.microsoft.com/office/drawing/2014/main" id="{9FBA3E5D-C671-8F04-0FEB-7E196FF10690}"/>
              </a:ext>
              <a:ext uri="{C183D7F6-B498-43B3-948B-1728B52AA6E4}">
                <adec:decorative xmlns:adec="http://schemas.microsoft.com/office/drawing/2017/decorative" val="1"/>
              </a:ext>
            </a:extLst>
          </p:cNvPr>
          <p:cNvSpPr/>
          <p:nvPr/>
        </p:nvSpPr>
        <p:spPr>
          <a:xfrm>
            <a:off x="1114846" y="2653141"/>
            <a:ext cx="411354" cy="424624"/>
          </a:xfrm>
          <a:custGeom>
            <a:avLst/>
            <a:gdLst>
              <a:gd name="connsiteX0" fmla="*/ 354330 w 354330"/>
              <a:gd name="connsiteY0" fmla="*/ 262890 h 365761"/>
              <a:gd name="connsiteX1" fmla="*/ 354330 w 354330"/>
              <a:gd name="connsiteY1" fmla="*/ 91440 h 365761"/>
              <a:gd name="connsiteX2" fmla="*/ 34290 w 354330"/>
              <a:gd name="connsiteY2" fmla="*/ 91440 h 365761"/>
              <a:gd name="connsiteX3" fmla="*/ 34290 w 354330"/>
              <a:gd name="connsiteY3" fmla="*/ 147853 h 365761"/>
              <a:gd name="connsiteX4" fmla="*/ 80010 w 354330"/>
              <a:gd name="connsiteY4" fmla="*/ 137160 h 365761"/>
              <a:gd name="connsiteX5" fmla="*/ 182880 w 354330"/>
              <a:gd name="connsiteY5" fmla="*/ 240030 h 365761"/>
              <a:gd name="connsiteX6" fmla="*/ 172855 w 354330"/>
              <a:gd name="connsiteY6" fmla="*/ 284381 h 365761"/>
              <a:gd name="connsiteX7" fmla="*/ 208513 w 354330"/>
              <a:gd name="connsiteY7" fmla="*/ 320040 h 365761"/>
              <a:gd name="connsiteX8" fmla="*/ 297180 w 354330"/>
              <a:gd name="connsiteY8" fmla="*/ 320040 h 365761"/>
              <a:gd name="connsiteX9" fmla="*/ 354330 w 354330"/>
              <a:gd name="connsiteY9" fmla="*/ 262890 h 365761"/>
              <a:gd name="connsiteX10" fmla="*/ 354330 w 354330"/>
              <a:gd name="connsiteY10" fmla="*/ 57150 h 365761"/>
              <a:gd name="connsiteX11" fmla="*/ 297180 w 354330"/>
              <a:gd name="connsiteY11" fmla="*/ 0 h 365761"/>
              <a:gd name="connsiteX12" fmla="*/ 91440 w 354330"/>
              <a:gd name="connsiteY12" fmla="*/ 0 h 365761"/>
              <a:gd name="connsiteX13" fmla="*/ 34290 w 354330"/>
              <a:gd name="connsiteY13" fmla="*/ 57150 h 365761"/>
              <a:gd name="connsiteX14" fmla="*/ 34290 w 354330"/>
              <a:gd name="connsiteY14" fmla="*/ 68580 h 365761"/>
              <a:gd name="connsiteX15" fmla="*/ 354330 w 354330"/>
              <a:gd name="connsiteY15" fmla="*/ 68580 h 365761"/>
              <a:gd name="connsiteX16" fmla="*/ 354330 w 354330"/>
              <a:gd name="connsiteY16" fmla="*/ 57150 h 365761"/>
              <a:gd name="connsiteX17" fmla="*/ 127926 w 354330"/>
              <a:gd name="connsiteY17" fmla="*/ 304111 h 365761"/>
              <a:gd name="connsiteX18" fmla="*/ 80010 w 354330"/>
              <a:gd name="connsiteY18" fmla="*/ 320040 h 365761"/>
              <a:gd name="connsiteX19" fmla="*/ 0 w 354330"/>
              <a:gd name="connsiteY19" fmla="*/ 240030 h 365761"/>
              <a:gd name="connsiteX20" fmla="*/ 80010 w 354330"/>
              <a:gd name="connsiteY20" fmla="*/ 160020 h 365761"/>
              <a:gd name="connsiteX21" fmla="*/ 160020 w 354330"/>
              <a:gd name="connsiteY21" fmla="*/ 240030 h 365761"/>
              <a:gd name="connsiteX22" fmla="*/ 144091 w 354330"/>
              <a:gd name="connsiteY22" fmla="*/ 287947 h 365761"/>
              <a:gd name="connsiteX23" fmla="*/ 202393 w 354330"/>
              <a:gd name="connsiteY23" fmla="*/ 346249 h 365761"/>
              <a:gd name="connsiteX24" fmla="*/ 202391 w 354330"/>
              <a:gd name="connsiteY24" fmla="*/ 362413 h 365761"/>
              <a:gd name="connsiteX25" fmla="*/ 186228 w 354330"/>
              <a:gd name="connsiteY25" fmla="*/ 362413 h 365761"/>
              <a:gd name="connsiteX26" fmla="*/ 127926 w 354330"/>
              <a:gd name="connsiteY26" fmla="*/ 304111 h 365761"/>
              <a:gd name="connsiteX27" fmla="*/ 137160 w 354330"/>
              <a:gd name="connsiteY27" fmla="*/ 240030 h 365761"/>
              <a:gd name="connsiteX28" fmla="*/ 80010 w 354330"/>
              <a:gd name="connsiteY28" fmla="*/ 182880 h 365761"/>
              <a:gd name="connsiteX29" fmla="*/ 22860 w 354330"/>
              <a:gd name="connsiteY29" fmla="*/ 240030 h 365761"/>
              <a:gd name="connsiteX30" fmla="*/ 80010 w 354330"/>
              <a:gd name="connsiteY30" fmla="*/ 297180 h 365761"/>
              <a:gd name="connsiteX31" fmla="*/ 137160 w 354330"/>
              <a:gd name="connsiteY31" fmla="*/ 240030 h 36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330" h="365761">
                <a:moveTo>
                  <a:pt x="354330" y="262890"/>
                </a:moveTo>
                <a:lnTo>
                  <a:pt x="354330" y="91440"/>
                </a:lnTo>
                <a:lnTo>
                  <a:pt x="34290" y="91440"/>
                </a:lnTo>
                <a:lnTo>
                  <a:pt x="34290" y="147853"/>
                </a:lnTo>
                <a:cubicBezTo>
                  <a:pt x="48063" y="141008"/>
                  <a:pt x="63587" y="137160"/>
                  <a:pt x="80010" y="137160"/>
                </a:cubicBezTo>
                <a:cubicBezTo>
                  <a:pt x="136824" y="137160"/>
                  <a:pt x="182880" y="183216"/>
                  <a:pt x="182880" y="240030"/>
                </a:cubicBezTo>
                <a:cubicBezTo>
                  <a:pt x="182880" y="255911"/>
                  <a:pt x="179281" y="270953"/>
                  <a:pt x="172855" y="284381"/>
                </a:cubicBezTo>
                <a:lnTo>
                  <a:pt x="208513" y="320040"/>
                </a:lnTo>
                <a:lnTo>
                  <a:pt x="297180" y="320040"/>
                </a:lnTo>
                <a:cubicBezTo>
                  <a:pt x="328743" y="320040"/>
                  <a:pt x="354330" y="294453"/>
                  <a:pt x="354330" y="262890"/>
                </a:cubicBezTo>
                <a:close/>
                <a:moveTo>
                  <a:pt x="354330" y="57150"/>
                </a:moveTo>
                <a:cubicBezTo>
                  <a:pt x="354330" y="25587"/>
                  <a:pt x="328743" y="0"/>
                  <a:pt x="297180" y="0"/>
                </a:cubicBezTo>
                <a:lnTo>
                  <a:pt x="91440" y="0"/>
                </a:lnTo>
                <a:cubicBezTo>
                  <a:pt x="59877" y="0"/>
                  <a:pt x="34290" y="25587"/>
                  <a:pt x="34290" y="57150"/>
                </a:cubicBezTo>
                <a:lnTo>
                  <a:pt x="34290" y="68580"/>
                </a:lnTo>
                <a:lnTo>
                  <a:pt x="354330" y="68580"/>
                </a:lnTo>
                <a:lnTo>
                  <a:pt x="354330" y="57150"/>
                </a:lnTo>
                <a:close/>
                <a:moveTo>
                  <a:pt x="127926" y="304111"/>
                </a:moveTo>
                <a:cubicBezTo>
                  <a:pt x="114570" y="314115"/>
                  <a:pt x="97982" y="320040"/>
                  <a:pt x="80010" y="320040"/>
                </a:cubicBezTo>
                <a:cubicBezTo>
                  <a:pt x="35822" y="320040"/>
                  <a:pt x="0" y="284218"/>
                  <a:pt x="0" y="240030"/>
                </a:cubicBezTo>
                <a:cubicBezTo>
                  <a:pt x="0" y="195842"/>
                  <a:pt x="35822" y="160020"/>
                  <a:pt x="80010" y="160020"/>
                </a:cubicBezTo>
                <a:cubicBezTo>
                  <a:pt x="124198" y="160020"/>
                  <a:pt x="160020" y="195842"/>
                  <a:pt x="160020" y="240030"/>
                </a:cubicBezTo>
                <a:cubicBezTo>
                  <a:pt x="160020" y="258003"/>
                  <a:pt x="154095" y="274590"/>
                  <a:pt x="144091" y="287947"/>
                </a:cubicBezTo>
                <a:lnTo>
                  <a:pt x="202393" y="346249"/>
                </a:lnTo>
                <a:cubicBezTo>
                  <a:pt x="206856" y="350714"/>
                  <a:pt x="206856" y="357951"/>
                  <a:pt x="202391" y="362413"/>
                </a:cubicBezTo>
                <a:cubicBezTo>
                  <a:pt x="197929" y="366878"/>
                  <a:pt x="190691" y="366878"/>
                  <a:pt x="186228" y="362413"/>
                </a:cubicBezTo>
                <a:lnTo>
                  <a:pt x="127926" y="304111"/>
                </a:lnTo>
                <a:close/>
                <a:moveTo>
                  <a:pt x="137160" y="240030"/>
                </a:moveTo>
                <a:cubicBezTo>
                  <a:pt x="137160" y="208467"/>
                  <a:pt x="111573" y="182880"/>
                  <a:pt x="80010" y="182880"/>
                </a:cubicBezTo>
                <a:cubicBezTo>
                  <a:pt x="48447" y="182880"/>
                  <a:pt x="22860" y="208467"/>
                  <a:pt x="22860" y="240030"/>
                </a:cubicBezTo>
                <a:cubicBezTo>
                  <a:pt x="22860" y="271593"/>
                  <a:pt x="48447" y="297180"/>
                  <a:pt x="80010" y="297180"/>
                </a:cubicBezTo>
                <a:cubicBezTo>
                  <a:pt x="111573" y="297180"/>
                  <a:pt x="137160" y="271593"/>
                  <a:pt x="137160" y="24003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3" name="Graphic 159">
            <a:extLst>
              <a:ext uri="{FF2B5EF4-FFF2-40B4-BE49-F238E27FC236}">
                <a16:creationId xmlns:a16="http://schemas.microsoft.com/office/drawing/2014/main" id="{5CE2467F-B071-7AF1-7F4D-D74A842AA3DB}"/>
              </a:ext>
              <a:ext uri="{C183D7F6-B498-43B3-948B-1728B52AA6E4}">
                <adec:decorative xmlns:adec="http://schemas.microsoft.com/office/drawing/2017/decorative" val="1"/>
              </a:ext>
            </a:extLst>
          </p:cNvPr>
          <p:cNvSpPr/>
          <p:nvPr/>
        </p:nvSpPr>
        <p:spPr>
          <a:xfrm>
            <a:off x="6212580" y="5259672"/>
            <a:ext cx="442316" cy="442316"/>
          </a:xfrm>
          <a:custGeom>
            <a:avLst/>
            <a:gdLst>
              <a:gd name="connsiteX0" fmla="*/ 162310 w 380999"/>
              <a:gd name="connsiteY0" fmla="*/ 315761 h 381000"/>
              <a:gd name="connsiteX1" fmla="*/ 155532 w 380999"/>
              <a:gd name="connsiteY1" fmla="*/ 342870 h 381000"/>
              <a:gd name="connsiteX2" fmla="*/ 61907 w 380999"/>
              <a:gd name="connsiteY2" fmla="*/ 342870 h 381000"/>
              <a:gd name="connsiteX3" fmla="*/ 0 w 380999"/>
              <a:gd name="connsiteY3" fmla="*/ 280963 h 381000"/>
              <a:gd name="connsiteX4" fmla="*/ 0 w 380999"/>
              <a:gd name="connsiteY4" fmla="*/ 104766 h 381000"/>
              <a:gd name="connsiteX5" fmla="*/ 342870 w 380999"/>
              <a:gd name="connsiteY5" fmla="*/ 104766 h 381000"/>
              <a:gd name="connsiteX6" fmla="*/ 342870 w 380999"/>
              <a:gd name="connsiteY6" fmla="*/ 152619 h 381000"/>
              <a:gd name="connsiteX7" fmla="*/ 293204 w 380999"/>
              <a:gd name="connsiteY7" fmla="*/ 170718 h 381000"/>
              <a:gd name="connsiteX8" fmla="*/ 180773 w 380999"/>
              <a:gd name="connsiteY8" fmla="*/ 283150 h 381000"/>
              <a:gd name="connsiteX9" fmla="*/ 162310 w 380999"/>
              <a:gd name="connsiteY9" fmla="*/ 315761 h 381000"/>
              <a:gd name="connsiteX10" fmla="*/ 342870 w 380999"/>
              <a:gd name="connsiteY10" fmla="*/ 61907 h 381000"/>
              <a:gd name="connsiteX11" fmla="*/ 280963 w 380999"/>
              <a:gd name="connsiteY11" fmla="*/ 0 h 381000"/>
              <a:gd name="connsiteX12" fmla="*/ 61907 w 380999"/>
              <a:gd name="connsiteY12" fmla="*/ 0 h 381000"/>
              <a:gd name="connsiteX13" fmla="*/ 0 w 380999"/>
              <a:gd name="connsiteY13" fmla="*/ 61907 h 381000"/>
              <a:gd name="connsiteX14" fmla="*/ 0 w 380999"/>
              <a:gd name="connsiteY14" fmla="*/ 76193 h 381000"/>
              <a:gd name="connsiteX15" fmla="*/ 342870 w 380999"/>
              <a:gd name="connsiteY15" fmla="*/ 76193 h 381000"/>
              <a:gd name="connsiteX16" fmla="*/ 342870 w 380999"/>
              <a:gd name="connsiteY16" fmla="*/ 61907 h 381000"/>
              <a:gd name="connsiteX17" fmla="*/ 306675 w 380999"/>
              <a:gd name="connsiteY17" fmla="*/ 184187 h 381000"/>
              <a:gd name="connsiteX18" fmla="*/ 194243 w 380999"/>
              <a:gd name="connsiteY18" fmla="*/ 296618 h 381000"/>
              <a:gd name="connsiteX19" fmla="*/ 180790 w 380999"/>
              <a:gd name="connsiteY19" fmla="*/ 320381 h 381000"/>
              <a:gd name="connsiteX20" fmla="*/ 172073 w 380999"/>
              <a:gd name="connsiteY20" fmla="*/ 355252 h 381000"/>
              <a:gd name="connsiteX21" fmla="*/ 197183 w 380999"/>
              <a:gd name="connsiteY21" fmla="*/ 380364 h 381000"/>
              <a:gd name="connsiteX22" fmla="*/ 232054 w 380999"/>
              <a:gd name="connsiteY22" fmla="*/ 371645 h 381000"/>
              <a:gd name="connsiteX23" fmla="*/ 255817 w 380999"/>
              <a:gd name="connsiteY23" fmla="*/ 358191 h 381000"/>
              <a:gd name="connsiteX24" fmla="*/ 368248 w 380999"/>
              <a:gd name="connsiteY24" fmla="*/ 245760 h 381000"/>
              <a:gd name="connsiteX25" fmla="*/ 368248 w 380999"/>
              <a:gd name="connsiteY25" fmla="*/ 184187 h 381000"/>
              <a:gd name="connsiteX26" fmla="*/ 306675 w 380999"/>
              <a:gd name="connsiteY26" fmla="*/ 18418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0999" h="381000">
                <a:moveTo>
                  <a:pt x="162310" y="315761"/>
                </a:moveTo>
                <a:lnTo>
                  <a:pt x="155532" y="342870"/>
                </a:lnTo>
                <a:lnTo>
                  <a:pt x="61907" y="342870"/>
                </a:lnTo>
                <a:cubicBezTo>
                  <a:pt x="27717" y="342870"/>
                  <a:pt x="0" y="315154"/>
                  <a:pt x="0" y="280963"/>
                </a:cubicBezTo>
                <a:lnTo>
                  <a:pt x="0" y="104766"/>
                </a:lnTo>
                <a:lnTo>
                  <a:pt x="342870" y="104766"/>
                </a:lnTo>
                <a:lnTo>
                  <a:pt x="342870" y="152619"/>
                </a:lnTo>
                <a:cubicBezTo>
                  <a:pt x="325102" y="151087"/>
                  <a:pt x="306802" y="157121"/>
                  <a:pt x="293204" y="170718"/>
                </a:cubicBezTo>
                <a:lnTo>
                  <a:pt x="180773" y="283150"/>
                </a:lnTo>
                <a:cubicBezTo>
                  <a:pt x="171778" y="292145"/>
                  <a:pt x="165394" y="303417"/>
                  <a:pt x="162310" y="315761"/>
                </a:cubicBezTo>
                <a:close/>
                <a:moveTo>
                  <a:pt x="342870" y="61907"/>
                </a:moveTo>
                <a:cubicBezTo>
                  <a:pt x="342870" y="27717"/>
                  <a:pt x="315154" y="0"/>
                  <a:pt x="280963" y="0"/>
                </a:cubicBezTo>
                <a:lnTo>
                  <a:pt x="61907" y="0"/>
                </a:lnTo>
                <a:cubicBezTo>
                  <a:pt x="27717" y="0"/>
                  <a:pt x="0" y="27717"/>
                  <a:pt x="0" y="61907"/>
                </a:cubicBezTo>
                <a:lnTo>
                  <a:pt x="0" y="76193"/>
                </a:lnTo>
                <a:lnTo>
                  <a:pt x="342870" y="76193"/>
                </a:lnTo>
                <a:lnTo>
                  <a:pt x="342870" y="61907"/>
                </a:lnTo>
                <a:close/>
                <a:moveTo>
                  <a:pt x="306675" y="184187"/>
                </a:moveTo>
                <a:lnTo>
                  <a:pt x="194243" y="296618"/>
                </a:lnTo>
                <a:cubicBezTo>
                  <a:pt x="187688" y="303173"/>
                  <a:pt x="183038" y="311388"/>
                  <a:pt x="180790" y="320381"/>
                </a:cubicBezTo>
                <a:lnTo>
                  <a:pt x="172073" y="355252"/>
                </a:lnTo>
                <a:cubicBezTo>
                  <a:pt x="168280" y="370418"/>
                  <a:pt x="182017" y="384155"/>
                  <a:pt x="197183" y="380364"/>
                </a:cubicBezTo>
                <a:lnTo>
                  <a:pt x="232054" y="371645"/>
                </a:lnTo>
                <a:cubicBezTo>
                  <a:pt x="241047" y="369397"/>
                  <a:pt x="249262" y="364747"/>
                  <a:pt x="255817" y="358191"/>
                </a:cubicBezTo>
                <a:lnTo>
                  <a:pt x="368248" y="245760"/>
                </a:lnTo>
                <a:cubicBezTo>
                  <a:pt x="385250" y="228756"/>
                  <a:pt x="385250" y="201189"/>
                  <a:pt x="368248" y="184187"/>
                </a:cubicBezTo>
                <a:cubicBezTo>
                  <a:pt x="351246" y="167185"/>
                  <a:pt x="323679" y="167185"/>
                  <a:pt x="306675" y="18418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117" name="Graphic 123">
            <a:extLst>
              <a:ext uri="{FF2B5EF4-FFF2-40B4-BE49-F238E27FC236}">
                <a16:creationId xmlns:a16="http://schemas.microsoft.com/office/drawing/2014/main" id="{CBD38891-3953-CCFE-9EA0-FA4252307C71}"/>
              </a:ext>
              <a:ext uri="{C183D7F6-B498-43B3-948B-1728B52AA6E4}">
                <adec:decorative xmlns:adec="http://schemas.microsoft.com/office/drawing/2017/decorative" val="1"/>
              </a:ext>
            </a:extLst>
          </p:cNvPr>
          <p:cNvSpPr>
            <a:spLocks/>
          </p:cNvSpPr>
          <p:nvPr/>
        </p:nvSpPr>
        <p:spPr>
          <a:xfrm>
            <a:off x="1114846" y="5219560"/>
            <a:ext cx="442316" cy="442316"/>
          </a:xfrm>
          <a:custGeom>
            <a:avLst/>
            <a:gdLst>
              <a:gd name="connsiteX0" fmla="*/ 280988 w 381000"/>
              <a:gd name="connsiteY0" fmla="*/ 0 h 381000"/>
              <a:gd name="connsiteX1" fmla="*/ 342900 w 381000"/>
              <a:gd name="connsiteY1" fmla="*/ 61913 h 381000"/>
              <a:gd name="connsiteX2" fmla="*/ 342900 w 381000"/>
              <a:gd name="connsiteY2" fmla="*/ 76200 h 381000"/>
              <a:gd name="connsiteX3" fmla="*/ 0 w 381000"/>
              <a:gd name="connsiteY3" fmla="*/ 76200 h 381000"/>
              <a:gd name="connsiteX4" fmla="*/ 0 w 381000"/>
              <a:gd name="connsiteY4" fmla="*/ 61913 h 381000"/>
              <a:gd name="connsiteX5" fmla="*/ 61913 w 381000"/>
              <a:gd name="connsiteY5" fmla="*/ 0 h 381000"/>
              <a:gd name="connsiteX6" fmla="*/ 280988 w 381000"/>
              <a:gd name="connsiteY6" fmla="*/ 0 h 381000"/>
              <a:gd name="connsiteX7" fmla="*/ 342900 w 381000"/>
              <a:gd name="connsiteY7" fmla="*/ 104775 h 381000"/>
              <a:gd name="connsiteX8" fmla="*/ 342900 w 381000"/>
              <a:gd name="connsiteY8" fmla="*/ 171865 h 381000"/>
              <a:gd name="connsiteX9" fmla="*/ 276225 w 381000"/>
              <a:gd name="connsiteY9" fmla="*/ 152400 h 381000"/>
              <a:gd name="connsiteX10" fmla="*/ 152400 w 381000"/>
              <a:gd name="connsiteY10" fmla="*/ 276225 h 381000"/>
              <a:gd name="connsiteX11" fmla="*/ 171865 w 381000"/>
              <a:gd name="connsiteY11" fmla="*/ 342900 h 381000"/>
              <a:gd name="connsiteX12" fmla="*/ 61913 w 381000"/>
              <a:gd name="connsiteY12" fmla="*/ 342900 h 381000"/>
              <a:gd name="connsiteX13" fmla="*/ 0 w 381000"/>
              <a:gd name="connsiteY13" fmla="*/ 280988 h 381000"/>
              <a:gd name="connsiteX14" fmla="*/ 0 w 381000"/>
              <a:gd name="connsiteY14" fmla="*/ 104775 h 381000"/>
              <a:gd name="connsiteX15" fmla="*/ 342900 w 381000"/>
              <a:gd name="connsiteY15" fmla="*/ 10477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76225 w 381000"/>
              <a:gd name="connsiteY21" fmla="*/ 276227 h 381000"/>
              <a:gd name="connsiteX22" fmla="*/ 314325 w 381000"/>
              <a:gd name="connsiteY22" fmla="*/ 276227 h 381000"/>
              <a:gd name="connsiteX23" fmla="*/ 323850 w 381000"/>
              <a:gd name="connsiteY23" fmla="*/ 285752 h 381000"/>
              <a:gd name="connsiteX24" fmla="*/ 314325 w 381000"/>
              <a:gd name="connsiteY24" fmla="*/ 295277 h 381000"/>
              <a:gd name="connsiteX25" fmla="*/ 266700 w 381000"/>
              <a:gd name="connsiteY25" fmla="*/ 295277 h 381000"/>
              <a:gd name="connsiteX26" fmla="*/ 257175 w 381000"/>
              <a:gd name="connsiteY26" fmla="*/ 285752 h 381000"/>
              <a:gd name="connsiteX27" fmla="*/ 257175 w 381000"/>
              <a:gd name="connsiteY27" fmla="*/ 285721 h 381000"/>
              <a:gd name="connsiteX28" fmla="*/ 257175 w 381000"/>
              <a:gd name="connsiteY28" fmla="*/ 228598 h 381000"/>
              <a:gd name="connsiteX29" fmla="*/ 266700 w 381000"/>
              <a:gd name="connsiteY29" fmla="*/ 219073 h 381000"/>
              <a:gd name="connsiteX30" fmla="*/ 276225 w 381000"/>
              <a:gd name="connsiteY30" fmla="*/ 228598 h 381000"/>
              <a:gd name="connsiteX31" fmla="*/ 276225 w 381000"/>
              <a:gd name="connsiteY31" fmla="*/ 27622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1000" h="381000">
                <a:moveTo>
                  <a:pt x="280988" y="0"/>
                </a:moveTo>
                <a:cubicBezTo>
                  <a:pt x="315180" y="0"/>
                  <a:pt x="342900" y="27719"/>
                  <a:pt x="342900" y="61913"/>
                </a:cubicBezTo>
                <a:lnTo>
                  <a:pt x="342900" y="76200"/>
                </a:lnTo>
                <a:lnTo>
                  <a:pt x="0" y="76200"/>
                </a:lnTo>
                <a:lnTo>
                  <a:pt x="0" y="61913"/>
                </a:lnTo>
                <a:cubicBezTo>
                  <a:pt x="0" y="27719"/>
                  <a:pt x="27719" y="0"/>
                  <a:pt x="61913" y="0"/>
                </a:cubicBezTo>
                <a:lnTo>
                  <a:pt x="280988" y="0"/>
                </a:lnTo>
                <a:close/>
                <a:moveTo>
                  <a:pt x="342900" y="104775"/>
                </a:moveTo>
                <a:lnTo>
                  <a:pt x="342900" y="171865"/>
                </a:lnTo>
                <a:cubicBezTo>
                  <a:pt x="323654" y="159544"/>
                  <a:pt x="300773" y="152400"/>
                  <a:pt x="276225" y="152400"/>
                </a:cubicBezTo>
                <a:cubicBezTo>
                  <a:pt x="207837" y="152400"/>
                  <a:pt x="152400" y="207837"/>
                  <a:pt x="152400" y="276225"/>
                </a:cubicBezTo>
                <a:cubicBezTo>
                  <a:pt x="152400" y="300773"/>
                  <a:pt x="159544" y="323654"/>
                  <a:pt x="171865" y="342900"/>
                </a:cubicBezTo>
                <a:lnTo>
                  <a:pt x="61913" y="342900"/>
                </a:lnTo>
                <a:cubicBezTo>
                  <a:pt x="27719" y="342900"/>
                  <a:pt x="0" y="315180"/>
                  <a:pt x="0" y="280988"/>
                </a:cubicBezTo>
                <a:lnTo>
                  <a:pt x="0" y="104775"/>
                </a:lnTo>
                <a:lnTo>
                  <a:pt x="342900" y="104775"/>
                </a:ln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76225" y="276227"/>
                </a:moveTo>
                <a:lnTo>
                  <a:pt x="314325" y="276227"/>
                </a:lnTo>
                <a:cubicBezTo>
                  <a:pt x="319585" y="276227"/>
                  <a:pt x="323850" y="280490"/>
                  <a:pt x="323850" y="285752"/>
                </a:cubicBezTo>
                <a:cubicBezTo>
                  <a:pt x="323850" y="291012"/>
                  <a:pt x="319585" y="295277"/>
                  <a:pt x="314325" y="295277"/>
                </a:cubicBezTo>
                <a:lnTo>
                  <a:pt x="266700" y="295277"/>
                </a:lnTo>
                <a:cubicBezTo>
                  <a:pt x="261440" y="295277"/>
                  <a:pt x="257175" y="291012"/>
                  <a:pt x="257175" y="285752"/>
                </a:cubicBezTo>
                <a:lnTo>
                  <a:pt x="257175" y="285721"/>
                </a:lnTo>
                <a:lnTo>
                  <a:pt x="257175" y="228598"/>
                </a:lnTo>
                <a:cubicBezTo>
                  <a:pt x="257175" y="223338"/>
                  <a:pt x="261440" y="219073"/>
                  <a:pt x="266700" y="219073"/>
                </a:cubicBezTo>
                <a:cubicBezTo>
                  <a:pt x="271960" y="219073"/>
                  <a:pt x="276225" y="223338"/>
                  <a:pt x="276225" y="228598"/>
                </a:cubicBezTo>
                <a:lnTo>
                  <a:pt x="276225" y="276227"/>
                </a:ln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8" name="Graphic 174" descr="Icon of two people with a plus sign">
            <a:extLst>
              <a:ext uri="{FF2B5EF4-FFF2-40B4-BE49-F238E27FC236}">
                <a16:creationId xmlns:a16="http://schemas.microsoft.com/office/drawing/2014/main" id="{D73D46F0-C262-866B-F3E3-4D2DAFFA7A7E}"/>
              </a:ext>
            </a:extLst>
          </p:cNvPr>
          <p:cNvSpPr/>
          <p:nvPr/>
        </p:nvSpPr>
        <p:spPr>
          <a:xfrm>
            <a:off x="6212580" y="3961137"/>
            <a:ext cx="396814" cy="396814"/>
          </a:xfrm>
          <a:custGeom>
            <a:avLst/>
            <a:gdLst>
              <a:gd name="connsiteX0" fmla="*/ 196850 w 266700"/>
              <a:gd name="connsiteY0" fmla="*/ 127000 h 266700"/>
              <a:gd name="connsiteX1" fmla="*/ 266700 w 266700"/>
              <a:gd name="connsiteY1" fmla="*/ 196850 h 266700"/>
              <a:gd name="connsiteX2" fmla="*/ 196850 w 266700"/>
              <a:gd name="connsiteY2" fmla="*/ 266700 h 266700"/>
              <a:gd name="connsiteX3" fmla="*/ 127000 w 266700"/>
              <a:gd name="connsiteY3" fmla="*/ 196850 h 266700"/>
              <a:gd name="connsiteX4" fmla="*/ 196850 w 266700"/>
              <a:gd name="connsiteY4" fmla="*/ 127000 h 266700"/>
              <a:gd name="connsiteX5" fmla="*/ 25400 w 266700"/>
              <a:gd name="connsiteY5" fmla="*/ 139687 h 266700"/>
              <a:gd name="connsiteX6" fmla="*/ 137287 w 266700"/>
              <a:gd name="connsiteY6" fmla="*/ 139700 h 266700"/>
              <a:gd name="connsiteX7" fmla="*/ 114300 w 266700"/>
              <a:gd name="connsiteY7" fmla="*/ 196850 h 266700"/>
              <a:gd name="connsiteX8" fmla="*/ 123685 w 266700"/>
              <a:gd name="connsiteY8" fmla="*/ 235115 h 266700"/>
              <a:gd name="connsiteX9" fmla="*/ 82550 w 266700"/>
              <a:gd name="connsiteY9" fmla="*/ 241300 h 266700"/>
              <a:gd name="connsiteX10" fmla="*/ 64 w 266700"/>
              <a:gd name="connsiteY10" fmla="*/ 187071 h 266700"/>
              <a:gd name="connsiteX11" fmla="*/ 0 w 266700"/>
              <a:gd name="connsiteY11" fmla="*/ 184150 h 266700"/>
              <a:gd name="connsiteX12" fmla="*/ 0 w 266700"/>
              <a:gd name="connsiteY12" fmla="*/ 165087 h 266700"/>
              <a:gd name="connsiteX13" fmla="*/ 25400 w 266700"/>
              <a:gd name="connsiteY13" fmla="*/ 139687 h 266700"/>
              <a:gd name="connsiteX14" fmla="*/ 196850 w 266700"/>
              <a:gd name="connsiteY14" fmla="*/ 152425 h 266700"/>
              <a:gd name="connsiteX15" fmla="*/ 195707 w 266700"/>
              <a:gd name="connsiteY15" fmla="*/ 152527 h 266700"/>
              <a:gd name="connsiteX16" fmla="*/ 190602 w 266700"/>
              <a:gd name="connsiteY16" fmla="*/ 157632 h 266700"/>
              <a:gd name="connsiteX17" fmla="*/ 190500 w 266700"/>
              <a:gd name="connsiteY17" fmla="*/ 158775 h 266700"/>
              <a:gd name="connsiteX18" fmla="*/ 190500 w 266700"/>
              <a:gd name="connsiteY18" fmla="*/ 190500 h 266700"/>
              <a:gd name="connsiteX19" fmla="*/ 158750 w 266700"/>
              <a:gd name="connsiteY19" fmla="*/ 190500 h 266700"/>
              <a:gd name="connsiteX20" fmla="*/ 157607 w 266700"/>
              <a:gd name="connsiteY20" fmla="*/ 190602 h 266700"/>
              <a:gd name="connsiteX21" fmla="*/ 152502 w 266700"/>
              <a:gd name="connsiteY21" fmla="*/ 195707 h 266700"/>
              <a:gd name="connsiteX22" fmla="*/ 152400 w 266700"/>
              <a:gd name="connsiteY22" fmla="*/ 196850 h 266700"/>
              <a:gd name="connsiteX23" fmla="*/ 152502 w 266700"/>
              <a:gd name="connsiteY23" fmla="*/ 197993 h 266700"/>
              <a:gd name="connsiteX24" fmla="*/ 157607 w 266700"/>
              <a:gd name="connsiteY24" fmla="*/ 203098 h 266700"/>
              <a:gd name="connsiteX25" fmla="*/ 158750 w 266700"/>
              <a:gd name="connsiteY25" fmla="*/ 203200 h 266700"/>
              <a:gd name="connsiteX26" fmla="*/ 190500 w 266700"/>
              <a:gd name="connsiteY26" fmla="*/ 203200 h 266700"/>
              <a:gd name="connsiteX27" fmla="*/ 190500 w 266700"/>
              <a:gd name="connsiteY27" fmla="*/ 234950 h 266700"/>
              <a:gd name="connsiteX28" fmla="*/ 190602 w 266700"/>
              <a:gd name="connsiteY28" fmla="*/ 236093 h 266700"/>
              <a:gd name="connsiteX29" fmla="*/ 195707 w 266700"/>
              <a:gd name="connsiteY29" fmla="*/ 241198 h 266700"/>
              <a:gd name="connsiteX30" fmla="*/ 196850 w 266700"/>
              <a:gd name="connsiteY30" fmla="*/ 241300 h 266700"/>
              <a:gd name="connsiteX31" fmla="*/ 197993 w 266700"/>
              <a:gd name="connsiteY31" fmla="*/ 241198 h 266700"/>
              <a:gd name="connsiteX32" fmla="*/ 203098 w 266700"/>
              <a:gd name="connsiteY32" fmla="*/ 236093 h 266700"/>
              <a:gd name="connsiteX33" fmla="*/ 203200 w 266700"/>
              <a:gd name="connsiteY33" fmla="*/ 234950 h 266700"/>
              <a:gd name="connsiteX34" fmla="*/ 203200 w 266700"/>
              <a:gd name="connsiteY34" fmla="*/ 203200 h 266700"/>
              <a:gd name="connsiteX35" fmla="*/ 234950 w 266700"/>
              <a:gd name="connsiteY35" fmla="*/ 203200 h 266700"/>
              <a:gd name="connsiteX36" fmla="*/ 236093 w 266700"/>
              <a:gd name="connsiteY36" fmla="*/ 203098 h 266700"/>
              <a:gd name="connsiteX37" fmla="*/ 241198 w 266700"/>
              <a:gd name="connsiteY37" fmla="*/ 197993 h 266700"/>
              <a:gd name="connsiteX38" fmla="*/ 241300 w 266700"/>
              <a:gd name="connsiteY38" fmla="*/ 196850 h 266700"/>
              <a:gd name="connsiteX39" fmla="*/ 241198 w 266700"/>
              <a:gd name="connsiteY39" fmla="*/ 195707 h 266700"/>
              <a:gd name="connsiteX40" fmla="*/ 236093 w 266700"/>
              <a:gd name="connsiteY40" fmla="*/ 190602 h 266700"/>
              <a:gd name="connsiteX41" fmla="*/ 234950 w 266700"/>
              <a:gd name="connsiteY41" fmla="*/ 190500 h 266700"/>
              <a:gd name="connsiteX42" fmla="*/ 203200 w 266700"/>
              <a:gd name="connsiteY42" fmla="*/ 190500 h 266700"/>
              <a:gd name="connsiteX43" fmla="*/ 203200 w 266700"/>
              <a:gd name="connsiteY43" fmla="*/ 158775 h 266700"/>
              <a:gd name="connsiteX44" fmla="*/ 203098 w 266700"/>
              <a:gd name="connsiteY44" fmla="*/ 157632 h 266700"/>
              <a:gd name="connsiteX45" fmla="*/ 197993 w 266700"/>
              <a:gd name="connsiteY45" fmla="*/ 152527 h 266700"/>
              <a:gd name="connsiteX46" fmla="*/ 196850 w 266700"/>
              <a:gd name="connsiteY46" fmla="*/ 152425 h 266700"/>
              <a:gd name="connsiteX47" fmla="*/ 82550 w 266700"/>
              <a:gd name="connsiteY47" fmla="*/ 0 h 266700"/>
              <a:gd name="connsiteX48" fmla="*/ 139700 w 266700"/>
              <a:gd name="connsiteY48" fmla="*/ 57150 h 266700"/>
              <a:gd name="connsiteX49" fmla="*/ 82550 w 266700"/>
              <a:gd name="connsiteY49" fmla="*/ 114300 h 266700"/>
              <a:gd name="connsiteX50" fmla="*/ 25400 w 266700"/>
              <a:gd name="connsiteY50" fmla="*/ 57150 h 266700"/>
              <a:gd name="connsiteX51" fmla="*/ 82550 w 266700"/>
              <a:gd name="connsiteY51" fmla="*/ 0 h 266700"/>
              <a:gd name="connsiteX52" fmla="*/ 196850 w 266700"/>
              <a:gd name="connsiteY52" fmla="*/ 25400 h 266700"/>
              <a:gd name="connsiteX53" fmla="*/ 241300 w 266700"/>
              <a:gd name="connsiteY53" fmla="*/ 69850 h 266700"/>
              <a:gd name="connsiteX54" fmla="*/ 196850 w 266700"/>
              <a:gd name="connsiteY54" fmla="*/ 114300 h 266700"/>
              <a:gd name="connsiteX55" fmla="*/ 152400 w 266700"/>
              <a:gd name="connsiteY55" fmla="*/ 69850 h 266700"/>
              <a:gd name="connsiteX56" fmla="*/ 196850 w 266700"/>
              <a:gd name="connsiteY56" fmla="*/ 254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66700" h="266700">
                <a:moveTo>
                  <a:pt x="196850" y="127000"/>
                </a:moveTo>
                <a:cubicBezTo>
                  <a:pt x="235427" y="127000"/>
                  <a:pt x="266700" y="158273"/>
                  <a:pt x="266700" y="196850"/>
                </a:cubicBezTo>
                <a:cubicBezTo>
                  <a:pt x="266700" y="235427"/>
                  <a:pt x="235427" y="266700"/>
                  <a:pt x="196850" y="266700"/>
                </a:cubicBezTo>
                <a:cubicBezTo>
                  <a:pt x="158273" y="266700"/>
                  <a:pt x="127000" y="235427"/>
                  <a:pt x="127000" y="196850"/>
                </a:cubicBezTo>
                <a:cubicBezTo>
                  <a:pt x="127000" y="158273"/>
                  <a:pt x="158273" y="127000"/>
                  <a:pt x="196850" y="127000"/>
                </a:cubicBezTo>
                <a:close/>
                <a:moveTo>
                  <a:pt x="25400" y="139687"/>
                </a:moveTo>
                <a:lnTo>
                  <a:pt x="137287" y="139700"/>
                </a:lnTo>
                <a:cubicBezTo>
                  <a:pt x="122513" y="155054"/>
                  <a:pt x="114272" y="175542"/>
                  <a:pt x="114300" y="196850"/>
                </a:cubicBezTo>
                <a:cubicBezTo>
                  <a:pt x="114300" y="210655"/>
                  <a:pt x="117691" y="223672"/>
                  <a:pt x="123685" y="235115"/>
                </a:cubicBezTo>
                <a:cubicBezTo>
                  <a:pt x="110350" y="239560"/>
                  <a:pt x="95644" y="241300"/>
                  <a:pt x="82550" y="241300"/>
                </a:cubicBezTo>
                <a:cubicBezTo>
                  <a:pt x="47981" y="241300"/>
                  <a:pt x="2095" y="229159"/>
                  <a:pt x="64" y="187071"/>
                </a:cubicBezTo>
                <a:lnTo>
                  <a:pt x="0" y="184150"/>
                </a:lnTo>
                <a:lnTo>
                  <a:pt x="0" y="165087"/>
                </a:lnTo>
                <a:cubicBezTo>
                  <a:pt x="0" y="151059"/>
                  <a:pt x="11372" y="139687"/>
                  <a:pt x="25400" y="139687"/>
                </a:cubicBezTo>
                <a:close/>
                <a:moveTo>
                  <a:pt x="196850" y="152425"/>
                </a:moveTo>
                <a:lnTo>
                  <a:pt x="195707" y="152527"/>
                </a:lnTo>
                <a:cubicBezTo>
                  <a:pt x="193109" y="153002"/>
                  <a:pt x="191076" y="155035"/>
                  <a:pt x="190602" y="157632"/>
                </a:cubicBezTo>
                <a:lnTo>
                  <a:pt x="190500" y="158775"/>
                </a:lnTo>
                <a:lnTo>
                  <a:pt x="190500" y="190500"/>
                </a:lnTo>
                <a:lnTo>
                  <a:pt x="158750" y="190500"/>
                </a:lnTo>
                <a:lnTo>
                  <a:pt x="157607" y="190602"/>
                </a:lnTo>
                <a:cubicBezTo>
                  <a:pt x="155009" y="191076"/>
                  <a:pt x="152976" y="193109"/>
                  <a:pt x="152502" y="195707"/>
                </a:cubicBezTo>
                <a:lnTo>
                  <a:pt x="152400" y="196850"/>
                </a:lnTo>
                <a:lnTo>
                  <a:pt x="152502" y="197993"/>
                </a:lnTo>
                <a:cubicBezTo>
                  <a:pt x="152976" y="200591"/>
                  <a:pt x="155009" y="202624"/>
                  <a:pt x="157607" y="203098"/>
                </a:cubicBezTo>
                <a:lnTo>
                  <a:pt x="158750" y="203200"/>
                </a:lnTo>
                <a:lnTo>
                  <a:pt x="190500" y="203200"/>
                </a:lnTo>
                <a:lnTo>
                  <a:pt x="190500" y="234950"/>
                </a:lnTo>
                <a:lnTo>
                  <a:pt x="190602" y="236093"/>
                </a:lnTo>
                <a:cubicBezTo>
                  <a:pt x="191076" y="238691"/>
                  <a:pt x="193109" y="240724"/>
                  <a:pt x="195707" y="241198"/>
                </a:cubicBezTo>
                <a:lnTo>
                  <a:pt x="196850" y="241300"/>
                </a:lnTo>
                <a:lnTo>
                  <a:pt x="197993" y="241198"/>
                </a:lnTo>
                <a:cubicBezTo>
                  <a:pt x="200591" y="240724"/>
                  <a:pt x="202624" y="238691"/>
                  <a:pt x="203098" y="236093"/>
                </a:cubicBezTo>
                <a:lnTo>
                  <a:pt x="203200" y="234950"/>
                </a:lnTo>
                <a:lnTo>
                  <a:pt x="203200" y="203200"/>
                </a:lnTo>
                <a:lnTo>
                  <a:pt x="234950" y="203200"/>
                </a:lnTo>
                <a:lnTo>
                  <a:pt x="236093" y="203098"/>
                </a:lnTo>
                <a:cubicBezTo>
                  <a:pt x="238691" y="202624"/>
                  <a:pt x="240724" y="200591"/>
                  <a:pt x="241198" y="197993"/>
                </a:cubicBezTo>
                <a:lnTo>
                  <a:pt x="241300" y="196850"/>
                </a:lnTo>
                <a:lnTo>
                  <a:pt x="241198" y="195707"/>
                </a:lnTo>
                <a:cubicBezTo>
                  <a:pt x="240724" y="193109"/>
                  <a:pt x="238691" y="191076"/>
                  <a:pt x="236093" y="190602"/>
                </a:cubicBezTo>
                <a:lnTo>
                  <a:pt x="234950" y="190500"/>
                </a:lnTo>
                <a:lnTo>
                  <a:pt x="203200" y="190500"/>
                </a:lnTo>
                <a:lnTo>
                  <a:pt x="203200" y="158775"/>
                </a:lnTo>
                <a:lnTo>
                  <a:pt x="203098" y="157632"/>
                </a:lnTo>
                <a:cubicBezTo>
                  <a:pt x="202624" y="155035"/>
                  <a:pt x="200591" y="153002"/>
                  <a:pt x="197993" y="152527"/>
                </a:cubicBezTo>
                <a:lnTo>
                  <a:pt x="196850" y="152425"/>
                </a:lnTo>
                <a:close/>
                <a:moveTo>
                  <a:pt x="82550" y="0"/>
                </a:moveTo>
                <a:cubicBezTo>
                  <a:pt x="114113" y="0"/>
                  <a:pt x="139700" y="25587"/>
                  <a:pt x="139700" y="57150"/>
                </a:cubicBezTo>
                <a:cubicBezTo>
                  <a:pt x="139700" y="88713"/>
                  <a:pt x="114113" y="114300"/>
                  <a:pt x="82550" y="114300"/>
                </a:cubicBezTo>
                <a:cubicBezTo>
                  <a:pt x="50987" y="114300"/>
                  <a:pt x="25400" y="88713"/>
                  <a:pt x="25400" y="57150"/>
                </a:cubicBezTo>
                <a:cubicBezTo>
                  <a:pt x="25400" y="25587"/>
                  <a:pt x="50987" y="0"/>
                  <a:pt x="82550" y="0"/>
                </a:cubicBezTo>
                <a:close/>
                <a:moveTo>
                  <a:pt x="196850" y="25400"/>
                </a:moveTo>
                <a:cubicBezTo>
                  <a:pt x="221399" y="25400"/>
                  <a:pt x="241300" y="45301"/>
                  <a:pt x="241300" y="69850"/>
                </a:cubicBezTo>
                <a:cubicBezTo>
                  <a:pt x="241300" y="94399"/>
                  <a:pt x="221399" y="114300"/>
                  <a:pt x="196850" y="114300"/>
                </a:cubicBezTo>
                <a:cubicBezTo>
                  <a:pt x="172301" y="114300"/>
                  <a:pt x="152400" y="94399"/>
                  <a:pt x="152400" y="69850"/>
                </a:cubicBezTo>
                <a:cubicBezTo>
                  <a:pt x="152400" y="45301"/>
                  <a:pt x="172301" y="25400"/>
                  <a:pt x="196850" y="2540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latin typeface="Segoe UI Semibold"/>
              <a:cs typeface="Segoe UI" pitchFamily="34" charset="0"/>
            </a:endParaRPr>
          </a:p>
        </p:txBody>
      </p:sp>
    </p:spTree>
    <p:extLst>
      <p:ext uri="{BB962C8B-B14F-4D97-AF65-F5344CB8AC3E}">
        <p14:creationId xmlns:p14="http://schemas.microsoft.com/office/powerpoint/2010/main" val="53222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2583E-0630-26CE-35F4-828A7F4C5256}"/>
            </a:ext>
          </a:extLst>
        </p:cNvPr>
        <p:cNvGrpSpPr/>
        <p:nvPr/>
      </p:nvGrpSpPr>
      <p:grpSpPr>
        <a:xfrm>
          <a:off x="0" y="0"/>
          <a:ext cx="0" cy="0"/>
          <a:chOff x="0" y="0"/>
          <a:chExt cx="0" cy="0"/>
        </a:xfrm>
      </p:grpSpPr>
      <p:sp>
        <p:nvSpPr>
          <p:cNvPr id="5" name="Graphic 86" descr="Icon of a media button">
            <a:extLst>
              <a:ext uri="{FF2B5EF4-FFF2-40B4-BE49-F238E27FC236}">
                <a16:creationId xmlns:a16="http://schemas.microsoft.com/office/drawing/2014/main" id="{4F8D533A-2C0F-BF62-9C54-8C3D7BD4410A}"/>
              </a:ext>
            </a:extLst>
          </p:cNvPr>
          <p:cNvSpPr>
            <a:spLocks/>
          </p:cNvSpPr>
          <p:nvPr/>
        </p:nvSpPr>
        <p:spPr>
          <a:xfrm>
            <a:off x="6212580" y="2599601"/>
            <a:ext cx="396814" cy="396814"/>
          </a:xfrm>
          <a:custGeom>
            <a:avLst/>
            <a:gdLst>
              <a:gd name="connsiteX0" fmla="*/ 30956 w 171450"/>
              <a:gd name="connsiteY0" fmla="*/ 0 h 152400"/>
              <a:gd name="connsiteX1" fmla="*/ 140494 w 171450"/>
              <a:gd name="connsiteY1" fmla="*/ 0 h 152400"/>
              <a:gd name="connsiteX2" fmla="*/ 171402 w 171450"/>
              <a:gd name="connsiteY2" fmla="*/ 29204 h 152400"/>
              <a:gd name="connsiteX3" fmla="*/ 171450 w 171450"/>
              <a:gd name="connsiteY3" fmla="*/ 30956 h 152400"/>
              <a:gd name="connsiteX4" fmla="*/ 171450 w 171450"/>
              <a:gd name="connsiteY4" fmla="*/ 121444 h 152400"/>
              <a:gd name="connsiteX5" fmla="*/ 142246 w 171450"/>
              <a:gd name="connsiteY5" fmla="*/ 152352 h 152400"/>
              <a:gd name="connsiteX6" fmla="*/ 140494 w 171450"/>
              <a:gd name="connsiteY6" fmla="*/ 152400 h 152400"/>
              <a:gd name="connsiteX7" fmla="*/ 30956 w 171450"/>
              <a:gd name="connsiteY7" fmla="*/ 152400 h 152400"/>
              <a:gd name="connsiteX8" fmla="*/ 48 w 171450"/>
              <a:gd name="connsiteY8" fmla="*/ 123196 h 152400"/>
              <a:gd name="connsiteX9" fmla="*/ 0 w 171450"/>
              <a:gd name="connsiteY9" fmla="*/ 121444 h 152400"/>
              <a:gd name="connsiteX10" fmla="*/ 0 w 171450"/>
              <a:gd name="connsiteY10" fmla="*/ 30956 h 152400"/>
              <a:gd name="connsiteX11" fmla="*/ 29204 w 171450"/>
              <a:gd name="connsiteY11" fmla="*/ 48 h 152400"/>
              <a:gd name="connsiteX12" fmla="*/ 30956 w 171450"/>
              <a:gd name="connsiteY12" fmla="*/ 0 h 152400"/>
              <a:gd name="connsiteX13" fmla="*/ 140494 w 171450"/>
              <a:gd name="connsiteY13" fmla="*/ 0 h 152400"/>
              <a:gd name="connsiteX14" fmla="*/ 30956 w 171450"/>
              <a:gd name="connsiteY14" fmla="*/ 0 h 152400"/>
              <a:gd name="connsiteX15" fmla="*/ 67180 w 171450"/>
              <a:gd name="connsiteY15" fmla="*/ 53197 h 152400"/>
              <a:gd name="connsiteX16" fmla="*/ 66675 w 171450"/>
              <a:gd name="connsiteY16" fmla="*/ 55340 h 152400"/>
              <a:gd name="connsiteX17" fmla="*/ 66675 w 171450"/>
              <a:gd name="connsiteY17" fmla="*/ 97079 h 152400"/>
              <a:gd name="connsiteX18" fmla="*/ 71438 w 171450"/>
              <a:gd name="connsiteY18" fmla="*/ 101841 h 152400"/>
              <a:gd name="connsiteX19" fmla="*/ 73571 w 171450"/>
              <a:gd name="connsiteY19" fmla="*/ 101336 h 152400"/>
              <a:gd name="connsiteX20" fmla="*/ 115310 w 171450"/>
              <a:gd name="connsiteY20" fmla="*/ 80477 h 152400"/>
              <a:gd name="connsiteX21" fmla="*/ 117448 w 171450"/>
              <a:gd name="connsiteY21" fmla="*/ 74090 h 152400"/>
              <a:gd name="connsiteX22" fmla="*/ 115310 w 171450"/>
              <a:gd name="connsiteY22" fmla="*/ 71952 h 152400"/>
              <a:gd name="connsiteX23" fmla="*/ 73571 w 171450"/>
              <a:gd name="connsiteY23" fmla="*/ 51083 h 152400"/>
              <a:gd name="connsiteX24" fmla="*/ 67180 w 171450"/>
              <a:gd name="connsiteY24" fmla="*/ 53207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450" h="152400">
                <a:moveTo>
                  <a:pt x="30956" y="0"/>
                </a:moveTo>
                <a:lnTo>
                  <a:pt x="140494" y="0"/>
                </a:lnTo>
                <a:cubicBezTo>
                  <a:pt x="156910" y="-1"/>
                  <a:pt x="170473" y="12813"/>
                  <a:pt x="171402" y="29204"/>
                </a:cubicBezTo>
                <a:lnTo>
                  <a:pt x="171450" y="30956"/>
                </a:lnTo>
                <a:lnTo>
                  <a:pt x="171450" y="121444"/>
                </a:lnTo>
                <a:cubicBezTo>
                  <a:pt x="171451" y="137860"/>
                  <a:pt x="158637" y="151423"/>
                  <a:pt x="142246" y="152352"/>
                </a:cubicBezTo>
                <a:lnTo>
                  <a:pt x="140494" y="152400"/>
                </a:lnTo>
                <a:lnTo>
                  <a:pt x="30956" y="152400"/>
                </a:lnTo>
                <a:cubicBezTo>
                  <a:pt x="14540" y="152401"/>
                  <a:pt x="977" y="139587"/>
                  <a:pt x="48" y="123196"/>
                </a:cubicBezTo>
                <a:lnTo>
                  <a:pt x="0" y="121444"/>
                </a:lnTo>
                <a:lnTo>
                  <a:pt x="0" y="30956"/>
                </a:lnTo>
                <a:cubicBezTo>
                  <a:pt x="-1" y="14540"/>
                  <a:pt x="12813" y="977"/>
                  <a:pt x="29204" y="48"/>
                </a:cubicBezTo>
                <a:lnTo>
                  <a:pt x="30956" y="0"/>
                </a:lnTo>
                <a:lnTo>
                  <a:pt x="140494" y="0"/>
                </a:lnTo>
                <a:lnTo>
                  <a:pt x="30956" y="0"/>
                </a:lnTo>
                <a:close/>
                <a:moveTo>
                  <a:pt x="67180" y="53197"/>
                </a:moveTo>
                <a:cubicBezTo>
                  <a:pt x="66846" y="53862"/>
                  <a:pt x="66674" y="54596"/>
                  <a:pt x="66675" y="55340"/>
                </a:cubicBezTo>
                <a:lnTo>
                  <a:pt x="66675" y="97079"/>
                </a:lnTo>
                <a:cubicBezTo>
                  <a:pt x="66675" y="99709"/>
                  <a:pt x="68808" y="101841"/>
                  <a:pt x="71438" y="101841"/>
                </a:cubicBezTo>
                <a:cubicBezTo>
                  <a:pt x="72179" y="101841"/>
                  <a:pt x="72909" y="101668"/>
                  <a:pt x="73571" y="101336"/>
                </a:cubicBezTo>
                <a:lnTo>
                  <a:pt x="115310" y="80477"/>
                </a:lnTo>
                <a:cubicBezTo>
                  <a:pt x="117663" y="79303"/>
                  <a:pt x="118621" y="76444"/>
                  <a:pt x="117448" y="74090"/>
                </a:cubicBezTo>
                <a:cubicBezTo>
                  <a:pt x="116986" y="73163"/>
                  <a:pt x="116235" y="72414"/>
                  <a:pt x="115310" y="71952"/>
                </a:cubicBezTo>
                <a:lnTo>
                  <a:pt x="73571" y="51083"/>
                </a:lnTo>
                <a:cubicBezTo>
                  <a:pt x="71219" y="49904"/>
                  <a:pt x="68358" y="50855"/>
                  <a:pt x="67180" y="5320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2800">
              <a:latin typeface="Segoe UI Semibold"/>
              <a:cs typeface="Segoe UI" pitchFamily="34" charset="0"/>
            </a:endParaRPr>
          </a:p>
        </p:txBody>
      </p:sp>
      <p:sp>
        <p:nvSpPr>
          <p:cNvPr id="33" name="Title 23">
            <a:extLst>
              <a:ext uri="{FF2B5EF4-FFF2-40B4-BE49-F238E27FC236}">
                <a16:creationId xmlns:a16="http://schemas.microsoft.com/office/drawing/2014/main" id="{2873F58A-4AA6-624A-2A83-4B541A005A26}"/>
              </a:ext>
            </a:extLst>
          </p:cNvPr>
          <p:cNvSpPr>
            <a:spLocks noGrp="1"/>
          </p:cNvSpPr>
          <p:nvPr>
            <p:ph type="title"/>
          </p:nvPr>
        </p:nvSpPr>
        <p:spPr>
          <a:xfrm>
            <a:off x="588263" y="457200"/>
            <a:ext cx="11018520" cy="553998"/>
          </a:xfrm>
        </p:spPr>
        <p:txBody>
          <a:bodyPr/>
          <a:lstStyle/>
          <a:p>
            <a:r>
              <a:rPr lang="en-US"/>
              <a:t>Business Central </a:t>
            </a:r>
            <a:r>
              <a:rPr lang="en-DK" i="1">
                <a:solidFill>
                  <a:schemeClr val="accent1"/>
                </a:solidFill>
              </a:rPr>
              <a:t>analytics and reporting</a:t>
            </a:r>
            <a:r>
              <a:rPr lang="en-DK"/>
              <a:t> </a:t>
            </a:r>
            <a:r>
              <a:rPr lang="en-US"/>
              <a:t>resources</a:t>
            </a:r>
          </a:p>
        </p:txBody>
      </p:sp>
      <p:sp>
        <p:nvSpPr>
          <p:cNvPr id="77" name="Text Placeholder 76">
            <a:extLst>
              <a:ext uri="{FF2B5EF4-FFF2-40B4-BE49-F238E27FC236}">
                <a16:creationId xmlns:a16="http://schemas.microsoft.com/office/drawing/2014/main" id="{73C73CCB-BE8C-BC74-81C1-824768B7F719}"/>
              </a:ext>
            </a:extLst>
          </p:cNvPr>
          <p:cNvSpPr>
            <a:spLocks noGrp="1"/>
          </p:cNvSpPr>
          <p:nvPr>
            <p:ph type="body" sz="quarter" idx="11"/>
          </p:nvPr>
        </p:nvSpPr>
        <p:spPr>
          <a:xfrm>
            <a:off x="1885950" y="3852345"/>
            <a:ext cx="3709988" cy="369332"/>
          </a:xfrm>
        </p:spPr>
        <p:txBody>
          <a:bodyPr/>
          <a:lstStyle/>
          <a:p>
            <a:r>
              <a:rPr lang="en-DK">
                <a:solidFill>
                  <a:schemeClr val="tx1"/>
                </a:solidFill>
              </a:rPr>
              <a:t>Excel layouts</a:t>
            </a:r>
            <a:endParaRPr lang="en-US">
              <a:solidFill>
                <a:schemeClr val="tx1"/>
              </a:solidFill>
            </a:endParaRPr>
          </a:p>
        </p:txBody>
      </p:sp>
      <p:sp>
        <p:nvSpPr>
          <p:cNvPr id="78" name="Text Placeholder 77">
            <a:extLst>
              <a:ext uri="{FF2B5EF4-FFF2-40B4-BE49-F238E27FC236}">
                <a16:creationId xmlns:a16="http://schemas.microsoft.com/office/drawing/2014/main" id="{B0535C01-1722-17CC-52C4-07B81C476367}"/>
              </a:ext>
            </a:extLst>
          </p:cNvPr>
          <p:cNvSpPr>
            <a:spLocks noGrp="1"/>
          </p:cNvSpPr>
          <p:nvPr>
            <p:ph type="body" sz="quarter" idx="12"/>
          </p:nvPr>
        </p:nvSpPr>
        <p:spPr>
          <a:xfrm>
            <a:off x="1885346" y="4261188"/>
            <a:ext cx="3710313" cy="249299"/>
          </a:xfrm>
        </p:spPr>
        <p:txBody>
          <a:bodyPr/>
          <a:lstStyle/>
          <a:p>
            <a:pPr marL="0" marR="0" indent="0" algn="l" rtl="0" eaLnBrk="1" fontAlgn="auto" latinLnBrk="0" hangingPunct="1">
              <a:lnSpc>
                <a:spcPct val="90000"/>
              </a:lnSpc>
              <a:spcBef>
                <a:spcPts val="480"/>
              </a:spcBef>
              <a:spcAft>
                <a:spcPts val="600"/>
              </a:spcAft>
            </a:pPr>
            <a:r>
              <a:rPr lang="en-US" sz="1800">
                <a:solidFill>
                  <a:srgbClr val="0078D4"/>
                </a:solidFill>
                <a:latin typeface="Segoe UI" panose="020B0502040204020203" pitchFamily="34" charset="0"/>
              </a:rPr>
              <a:t>aka.ms/BC</a:t>
            </a:r>
            <a:r>
              <a:rPr lang="en-DK" sz="1800">
                <a:solidFill>
                  <a:srgbClr val="0078D4"/>
                </a:solidFill>
                <a:latin typeface="Segoe UI" panose="020B0502040204020203" pitchFamily="34" charset="0"/>
              </a:rPr>
              <a:t>Excel</a:t>
            </a:r>
            <a:endParaRPr lang="en-GB">
              <a:effectLst/>
            </a:endParaRPr>
          </a:p>
        </p:txBody>
      </p:sp>
      <p:sp>
        <p:nvSpPr>
          <p:cNvPr id="79" name="Text Placeholder 78">
            <a:extLst>
              <a:ext uri="{FF2B5EF4-FFF2-40B4-BE49-F238E27FC236}">
                <a16:creationId xmlns:a16="http://schemas.microsoft.com/office/drawing/2014/main" id="{1918183D-0765-83BB-9700-32163A6A1171}"/>
              </a:ext>
            </a:extLst>
          </p:cNvPr>
          <p:cNvSpPr>
            <a:spLocks noGrp="1"/>
          </p:cNvSpPr>
          <p:nvPr>
            <p:ph type="body" sz="quarter" idx="13"/>
          </p:nvPr>
        </p:nvSpPr>
        <p:spPr>
          <a:xfrm>
            <a:off x="6983080" y="2478088"/>
            <a:ext cx="3709988" cy="369332"/>
          </a:xfrm>
        </p:spPr>
        <p:txBody>
          <a:bodyPr vert="horz" wrap="square" lIns="0" tIns="0" rIns="0" bIns="0" rtlCol="0" anchor="t">
            <a:spAutoFit/>
          </a:bodyPr>
          <a:lstStyle/>
          <a:p>
            <a:r>
              <a:rPr lang="en-DK">
                <a:solidFill>
                  <a:schemeClr val="tx1"/>
                </a:solidFill>
                <a:cs typeface="Segoe UI"/>
              </a:rPr>
              <a:t>Word layout code samples</a:t>
            </a:r>
            <a:endParaRPr lang="en-US">
              <a:solidFill>
                <a:schemeClr val="tx1"/>
              </a:solidFill>
              <a:cs typeface="Segoe UI"/>
            </a:endParaRPr>
          </a:p>
        </p:txBody>
      </p:sp>
      <p:sp>
        <p:nvSpPr>
          <p:cNvPr id="80" name="Text Placeholder 79">
            <a:extLst>
              <a:ext uri="{FF2B5EF4-FFF2-40B4-BE49-F238E27FC236}">
                <a16:creationId xmlns:a16="http://schemas.microsoft.com/office/drawing/2014/main" id="{74664C4A-2C7B-D8C2-67A8-1A0DEDA088B3}"/>
              </a:ext>
            </a:extLst>
          </p:cNvPr>
          <p:cNvSpPr>
            <a:spLocks noGrp="1"/>
          </p:cNvSpPr>
          <p:nvPr>
            <p:ph type="body" sz="quarter" idx="14"/>
          </p:nvPr>
        </p:nvSpPr>
        <p:spPr>
          <a:xfrm>
            <a:off x="6983038" y="2886931"/>
            <a:ext cx="3710313" cy="276999"/>
          </a:xfrm>
        </p:spPr>
        <p:txBody>
          <a:bodyPr/>
          <a:lstStyle/>
          <a:p>
            <a:r>
              <a:rPr lang="en-US">
                <a:solidFill>
                  <a:schemeClr val="accent1"/>
                </a:solidFill>
              </a:rPr>
              <a:t>aka.ms/</a:t>
            </a:r>
            <a:r>
              <a:rPr lang="en-US" err="1">
                <a:solidFill>
                  <a:schemeClr val="accent1"/>
                </a:solidFill>
              </a:rPr>
              <a:t>BCWord</a:t>
            </a:r>
            <a:r>
              <a:rPr lang="en-DK">
                <a:solidFill>
                  <a:schemeClr val="accent1"/>
                </a:solidFill>
              </a:rPr>
              <a:t>Samples</a:t>
            </a:r>
            <a:endParaRPr lang="en-US">
              <a:solidFill>
                <a:schemeClr val="accent1"/>
              </a:solidFill>
            </a:endParaRPr>
          </a:p>
        </p:txBody>
      </p:sp>
      <p:sp>
        <p:nvSpPr>
          <p:cNvPr id="81" name="Text Placeholder 80">
            <a:extLst>
              <a:ext uri="{FF2B5EF4-FFF2-40B4-BE49-F238E27FC236}">
                <a16:creationId xmlns:a16="http://schemas.microsoft.com/office/drawing/2014/main" id="{5781394B-65FE-1821-46B6-161F42439615}"/>
              </a:ext>
            </a:extLst>
          </p:cNvPr>
          <p:cNvSpPr>
            <a:spLocks noGrp="1"/>
          </p:cNvSpPr>
          <p:nvPr>
            <p:ph type="body" sz="quarter" idx="15"/>
          </p:nvPr>
        </p:nvSpPr>
        <p:spPr>
          <a:xfrm>
            <a:off x="1853366" y="2525959"/>
            <a:ext cx="3709988" cy="369332"/>
          </a:xfrm>
        </p:spPr>
        <p:txBody>
          <a:bodyPr/>
          <a:lstStyle/>
          <a:p>
            <a:r>
              <a:rPr lang="en-DK">
                <a:solidFill>
                  <a:schemeClr val="tx1"/>
                </a:solidFill>
              </a:rPr>
              <a:t>Word layouts</a:t>
            </a:r>
            <a:endParaRPr lang="en-US">
              <a:solidFill>
                <a:schemeClr val="tx1"/>
              </a:solidFill>
            </a:endParaRPr>
          </a:p>
        </p:txBody>
      </p:sp>
      <p:sp>
        <p:nvSpPr>
          <p:cNvPr id="82" name="Text Placeholder 81">
            <a:extLst>
              <a:ext uri="{FF2B5EF4-FFF2-40B4-BE49-F238E27FC236}">
                <a16:creationId xmlns:a16="http://schemas.microsoft.com/office/drawing/2014/main" id="{9C00D077-9234-412C-3D35-62BC1A8AF094}"/>
              </a:ext>
            </a:extLst>
          </p:cNvPr>
          <p:cNvSpPr>
            <a:spLocks noGrp="1"/>
          </p:cNvSpPr>
          <p:nvPr>
            <p:ph type="body" sz="quarter" idx="16"/>
          </p:nvPr>
        </p:nvSpPr>
        <p:spPr>
          <a:xfrm>
            <a:off x="1852762" y="2936048"/>
            <a:ext cx="3710313" cy="276999"/>
          </a:xfrm>
        </p:spPr>
        <p:txBody>
          <a:bodyPr/>
          <a:lstStyle/>
          <a:p>
            <a:r>
              <a:rPr lang="en-US">
                <a:solidFill>
                  <a:schemeClr val="accent1"/>
                </a:solidFill>
              </a:rPr>
              <a:t>aka.ms/</a:t>
            </a:r>
            <a:r>
              <a:rPr lang="en-US" err="1">
                <a:solidFill>
                  <a:schemeClr val="accent1"/>
                </a:solidFill>
              </a:rPr>
              <a:t>BCWord</a:t>
            </a:r>
            <a:r>
              <a:rPr lang="en-DK">
                <a:solidFill>
                  <a:schemeClr val="accent1"/>
                </a:solidFill>
              </a:rPr>
              <a:t> </a:t>
            </a:r>
            <a:endParaRPr lang="en-US">
              <a:solidFill>
                <a:schemeClr val="accent1"/>
              </a:solidFill>
            </a:endParaRPr>
          </a:p>
        </p:txBody>
      </p:sp>
      <p:sp>
        <p:nvSpPr>
          <p:cNvPr id="83" name="Text Placeholder 82">
            <a:extLst>
              <a:ext uri="{FF2B5EF4-FFF2-40B4-BE49-F238E27FC236}">
                <a16:creationId xmlns:a16="http://schemas.microsoft.com/office/drawing/2014/main" id="{8353B716-712C-AD76-8824-0F787270133D}"/>
              </a:ext>
            </a:extLst>
          </p:cNvPr>
          <p:cNvSpPr>
            <a:spLocks noGrp="1"/>
          </p:cNvSpPr>
          <p:nvPr>
            <p:ph type="body" sz="quarter" idx="17"/>
          </p:nvPr>
        </p:nvSpPr>
        <p:spPr>
          <a:xfrm>
            <a:off x="6966581" y="5137253"/>
            <a:ext cx="4409682" cy="369332"/>
          </a:xfrm>
        </p:spPr>
        <p:txBody>
          <a:bodyPr/>
          <a:lstStyle/>
          <a:p>
            <a:r>
              <a:rPr lang="en-DK">
                <a:solidFill>
                  <a:schemeClr val="tx1"/>
                </a:solidFill>
              </a:rPr>
              <a:t>Analytics (for users)</a:t>
            </a:r>
            <a:endParaRPr lang="en-US">
              <a:solidFill>
                <a:schemeClr val="tx1"/>
              </a:solidFill>
            </a:endParaRPr>
          </a:p>
        </p:txBody>
      </p:sp>
      <p:sp>
        <p:nvSpPr>
          <p:cNvPr id="84" name="Text Placeholder 83">
            <a:extLst>
              <a:ext uri="{FF2B5EF4-FFF2-40B4-BE49-F238E27FC236}">
                <a16:creationId xmlns:a16="http://schemas.microsoft.com/office/drawing/2014/main" id="{801A9B09-8362-4ADF-09C0-62A96FB63225}"/>
              </a:ext>
            </a:extLst>
          </p:cNvPr>
          <p:cNvSpPr>
            <a:spLocks noGrp="1"/>
          </p:cNvSpPr>
          <p:nvPr>
            <p:ph type="body" sz="quarter" idx="18"/>
          </p:nvPr>
        </p:nvSpPr>
        <p:spPr>
          <a:xfrm>
            <a:off x="6965977" y="5547002"/>
            <a:ext cx="3710313" cy="249299"/>
          </a:xfrm>
        </p:spPr>
        <p:txBody>
          <a:bodyPr/>
          <a:lstStyle/>
          <a:p>
            <a:pPr marL="0" marR="0" indent="0" algn="l" rtl="0" eaLnBrk="1" fontAlgn="auto" latinLnBrk="0" hangingPunct="1">
              <a:lnSpc>
                <a:spcPct val="90000"/>
              </a:lnSpc>
              <a:spcBef>
                <a:spcPts val="480"/>
              </a:spcBef>
              <a:spcAft>
                <a:spcPts val="600"/>
              </a:spcAft>
            </a:pPr>
            <a:r>
              <a:rPr lang="en-US" sz="1800" kern="1200" spc="0" baseline="0">
                <a:solidFill>
                  <a:srgbClr val="0078D4"/>
                </a:solidFill>
                <a:effectLst/>
                <a:latin typeface="Segoe UI" panose="020B0502040204020203" pitchFamily="34" charset="0"/>
                <a:ea typeface="+mn-ea"/>
                <a:cs typeface="Segoe UI" panose="020B0502040204020203" pitchFamily="34" charset="0"/>
              </a:rPr>
              <a:t>aka.ms/BC</a:t>
            </a:r>
            <a:r>
              <a:rPr lang="en-DK" sz="1800">
                <a:solidFill>
                  <a:srgbClr val="0078D4"/>
                </a:solidFill>
                <a:latin typeface="Segoe UI" panose="020B0502040204020203" pitchFamily="34" charset="0"/>
              </a:rPr>
              <a:t>Analytics</a:t>
            </a:r>
            <a:endParaRPr lang="en-GB">
              <a:effectLst/>
            </a:endParaRPr>
          </a:p>
        </p:txBody>
      </p:sp>
      <p:sp>
        <p:nvSpPr>
          <p:cNvPr id="85" name="Text Placeholder 84">
            <a:extLst>
              <a:ext uri="{FF2B5EF4-FFF2-40B4-BE49-F238E27FC236}">
                <a16:creationId xmlns:a16="http://schemas.microsoft.com/office/drawing/2014/main" id="{F1A5964F-03C7-1D4A-FFFD-0468366B7279}"/>
              </a:ext>
            </a:extLst>
          </p:cNvPr>
          <p:cNvSpPr>
            <a:spLocks noGrp="1"/>
          </p:cNvSpPr>
          <p:nvPr>
            <p:ph type="body" sz="quarter" idx="19"/>
          </p:nvPr>
        </p:nvSpPr>
        <p:spPr>
          <a:xfrm>
            <a:off x="6983080" y="3811588"/>
            <a:ext cx="4227926" cy="369332"/>
          </a:xfrm>
        </p:spPr>
        <p:txBody>
          <a:bodyPr/>
          <a:lstStyle/>
          <a:p>
            <a:r>
              <a:rPr lang="en-DK">
                <a:solidFill>
                  <a:schemeClr val="tx1"/>
                </a:solidFill>
              </a:rPr>
              <a:t>Excel</a:t>
            </a:r>
            <a:r>
              <a:rPr lang="en-US">
                <a:solidFill>
                  <a:schemeClr val="tx1"/>
                </a:solidFill>
              </a:rPr>
              <a:t> layout code samples</a:t>
            </a:r>
          </a:p>
        </p:txBody>
      </p:sp>
      <p:sp>
        <p:nvSpPr>
          <p:cNvPr id="86" name="Text Placeholder 85">
            <a:extLst>
              <a:ext uri="{FF2B5EF4-FFF2-40B4-BE49-F238E27FC236}">
                <a16:creationId xmlns:a16="http://schemas.microsoft.com/office/drawing/2014/main" id="{7176BEA6-A200-545F-5030-714CF87CD056}"/>
              </a:ext>
            </a:extLst>
          </p:cNvPr>
          <p:cNvSpPr>
            <a:spLocks noGrp="1"/>
          </p:cNvSpPr>
          <p:nvPr>
            <p:ph type="body" sz="quarter" idx="20"/>
          </p:nvPr>
        </p:nvSpPr>
        <p:spPr>
          <a:xfrm>
            <a:off x="6983037" y="4221677"/>
            <a:ext cx="3710313" cy="276999"/>
          </a:xfrm>
        </p:spPr>
        <p:txBody>
          <a:bodyPr/>
          <a:lstStyle/>
          <a:p>
            <a:r>
              <a:rPr lang="en-US">
                <a:solidFill>
                  <a:schemeClr val="accent1"/>
                </a:solidFill>
              </a:rPr>
              <a:t>aka.ms/</a:t>
            </a:r>
            <a:r>
              <a:rPr lang="en-US" err="1">
                <a:solidFill>
                  <a:schemeClr val="accent1"/>
                </a:solidFill>
              </a:rPr>
              <a:t>BCExcel</a:t>
            </a:r>
            <a:r>
              <a:rPr lang="en-DK">
                <a:solidFill>
                  <a:schemeClr val="accent1"/>
                </a:solidFill>
              </a:rPr>
              <a:t>Samples</a:t>
            </a:r>
            <a:endParaRPr lang="en-US">
              <a:solidFill>
                <a:schemeClr val="accent1"/>
              </a:solidFill>
            </a:endParaRPr>
          </a:p>
        </p:txBody>
      </p:sp>
      <p:sp>
        <p:nvSpPr>
          <p:cNvPr id="87" name="Text Placeholder 86">
            <a:extLst>
              <a:ext uri="{FF2B5EF4-FFF2-40B4-BE49-F238E27FC236}">
                <a16:creationId xmlns:a16="http://schemas.microsoft.com/office/drawing/2014/main" id="{B31C997C-F0AB-3148-397C-7D98305CC7CF}"/>
              </a:ext>
            </a:extLst>
          </p:cNvPr>
          <p:cNvSpPr>
            <a:spLocks noGrp="1"/>
          </p:cNvSpPr>
          <p:nvPr>
            <p:ph type="body" sz="quarter" idx="21"/>
          </p:nvPr>
        </p:nvSpPr>
        <p:spPr>
          <a:xfrm>
            <a:off x="1885346" y="5097141"/>
            <a:ext cx="3709988" cy="369332"/>
          </a:xfrm>
        </p:spPr>
        <p:txBody>
          <a:bodyPr/>
          <a:lstStyle/>
          <a:p>
            <a:r>
              <a:rPr lang="en-DK">
                <a:solidFill>
                  <a:schemeClr val="tx1"/>
                </a:solidFill>
              </a:rPr>
              <a:t>Developer documentation</a:t>
            </a:r>
            <a:endParaRPr lang="en-US">
              <a:solidFill>
                <a:schemeClr val="tx1"/>
              </a:solidFill>
            </a:endParaRPr>
          </a:p>
        </p:txBody>
      </p:sp>
      <p:sp>
        <p:nvSpPr>
          <p:cNvPr id="88" name="Text Placeholder 87">
            <a:extLst>
              <a:ext uri="{FF2B5EF4-FFF2-40B4-BE49-F238E27FC236}">
                <a16:creationId xmlns:a16="http://schemas.microsoft.com/office/drawing/2014/main" id="{253F49EF-B4FC-C848-4960-5F0EDA878E9E}"/>
              </a:ext>
            </a:extLst>
          </p:cNvPr>
          <p:cNvSpPr>
            <a:spLocks noGrp="1"/>
          </p:cNvSpPr>
          <p:nvPr>
            <p:ph type="body" sz="quarter" idx="22"/>
          </p:nvPr>
        </p:nvSpPr>
        <p:spPr>
          <a:xfrm>
            <a:off x="1885303" y="5506890"/>
            <a:ext cx="3710313" cy="249299"/>
          </a:xfrm>
        </p:spPr>
        <p:txBody>
          <a:bodyPr/>
          <a:lstStyle/>
          <a:p>
            <a:pPr marL="0" marR="0" indent="0" algn="l" rtl="0" eaLnBrk="1" fontAlgn="auto" latinLnBrk="0" hangingPunct="1">
              <a:lnSpc>
                <a:spcPct val="90000"/>
              </a:lnSpc>
              <a:spcBef>
                <a:spcPts val="480"/>
              </a:spcBef>
              <a:spcAft>
                <a:spcPts val="600"/>
              </a:spcAft>
            </a:pPr>
            <a:r>
              <a:rPr lang="en-US" sz="1800" kern="1200" spc="0" baseline="0">
                <a:solidFill>
                  <a:srgbClr val="0078D4"/>
                </a:solidFill>
                <a:effectLst/>
                <a:latin typeface="Segoe UI" panose="020B0502040204020203" pitchFamily="34" charset="0"/>
                <a:ea typeface="+mn-ea"/>
                <a:cs typeface="Segoe UI" panose="020B0502040204020203" pitchFamily="34" charset="0"/>
              </a:rPr>
              <a:t>aka.ms/</a:t>
            </a:r>
            <a:r>
              <a:rPr lang="en-DK" sz="1800" err="1">
                <a:solidFill>
                  <a:srgbClr val="0078D4"/>
                </a:solidFill>
                <a:latin typeface="Segoe UI" panose="020B0502040204020203" pitchFamily="34" charset="0"/>
              </a:rPr>
              <a:t>BC</a:t>
            </a:r>
            <a:r>
              <a:rPr lang="en-DK" sz="1800" kern="1200" spc="0" baseline="0" err="1">
                <a:solidFill>
                  <a:srgbClr val="0078D4"/>
                </a:solidFill>
                <a:effectLst/>
                <a:latin typeface="Segoe UI" panose="020B0502040204020203" pitchFamily="34" charset="0"/>
                <a:ea typeface="+mn-ea"/>
                <a:cs typeface="Segoe UI" panose="020B0502040204020203" pitchFamily="34" charset="0"/>
              </a:rPr>
              <a:t>Developer</a:t>
            </a:r>
            <a:endParaRPr lang="en-GB">
              <a:effectLst/>
            </a:endParaRPr>
          </a:p>
        </p:txBody>
      </p:sp>
      <p:sp>
        <p:nvSpPr>
          <p:cNvPr id="15" name="Rounded Rectangle 18" descr="Announcing&#10;">
            <a:extLst>
              <a:ext uri="{FF2B5EF4-FFF2-40B4-BE49-F238E27FC236}">
                <a16:creationId xmlns:a16="http://schemas.microsoft.com/office/drawing/2014/main" id="{2963E95A-A8E1-2C88-5395-F4BB1F51226B}"/>
              </a:ext>
            </a:extLst>
          </p:cNvPr>
          <p:cNvSpPr/>
          <p:nvPr/>
        </p:nvSpPr>
        <p:spPr bwMode="auto">
          <a:xfrm>
            <a:off x="521019" y="1164206"/>
            <a:ext cx="1828481" cy="507881"/>
          </a:xfrm>
          <a:prstGeom prst="roundRect">
            <a:avLst>
              <a:gd name="adj" fmla="val 50000"/>
            </a:avLst>
          </a:prstGeom>
          <a:gradFill>
            <a:gsLst>
              <a:gs pos="28000">
                <a:schemeClr val="accent3"/>
              </a:gs>
              <a:gs pos="68000">
                <a:schemeClr val="accent1"/>
              </a:gs>
              <a:gs pos="100000">
                <a:schemeClr val="accent5"/>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CA"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2" name="TextBox 11">
            <a:extLst>
              <a:ext uri="{FF2B5EF4-FFF2-40B4-BE49-F238E27FC236}">
                <a16:creationId xmlns:a16="http://schemas.microsoft.com/office/drawing/2014/main" id="{FEC39A32-C96A-71BA-36D7-8BA480C07D57}"/>
              </a:ext>
            </a:extLst>
          </p:cNvPr>
          <p:cNvSpPr txBox="1"/>
          <p:nvPr/>
        </p:nvSpPr>
        <p:spPr>
          <a:xfrm>
            <a:off x="714597" y="1233480"/>
            <a:ext cx="1441324" cy="369332"/>
          </a:xfrm>
          <a:prstGeom prst="rect">
            <a:avLst/>
          </a:prstGeom>
          <a:noFill/>
        </p:spPr>
        <p:txBody>
          <a:bodyPr wrap="square" anchor="ctr">
            <a:spAutoFit/>
          </a:bodyPr>
          <a:lstStyle/>
          <a:p>
            <a:pPr algn="ctr"/>
            <a:r>
              <a:rPr lang="en-US">
                <a:solidFill>
                  <a:schemeClr val="bg1"/>
                </a:solidFill>
                <a:latin typeface="+mj-lt"/>
              </a:rPr>
              <a:t>Learn more!</a:t>
            </a:r>
          </a:p>
        </p:txBody>
      </p:sp>
      <p:sp>
        <p:nvSpPr>
          <p:cNvPr id="24" name="Graphic 44">
            <a:extLst>
              <a:ext uri="{FF2B5EF4-FFF2-40B4-BE49-F238E27FC236}">
                <a16:creationId xmlns:a16="http://schemas.microsoft.com/office/drawing/2014/main" id="{B7F33143-1AF2-05AE-8AED-F3C9466EC452}"/>
              </a:ext>
              <a:ext uri="{C183D7F6-B498-43B3-948B-1728B52AA6E4}">
                <adec:decorative xmlns:adec="http://schemas.microsoft.com/office/drawing/2017/decorative" val="1"/>
              </a:ext>
            </a:extLst>
          </p:cNvPr>
          <p:cNvSpPr/>
          <p:nvPr/>
        </p:nvSpPr>
        <p:spPr>
          <a:xfrm>
            <a:off x="1131949" y="3973858"/>
            <a:ext cx="442316" cy="442316"/>
          </a:xfrm>
          <a:custGeom>
            <a:avLst/>
            <a:gdLst>
              <a:gd name="connsiteX0" fmla="*/ 342900 w 381000"/>
              <a:gd name="connsiteY0" fmla="*/ 61913 h 381000"/>
              <a:gd name="connsiteX1" fmla="*/ 280988 w 381000"/>
              <a:gd name="connsiteY1" fmla="*/ 0 h 381000"/>
              <a:gd name="connsiteX2" fmla="*/ 61913 w 381000"/>
              <a:gd name="connsiteY2" fmla="*/ 0 h 381000"/>
              <a:gd name="connsiteX3" fmla="*/ 0 w 381000"/>
              <a:gd name="connsiteY3" fmla="*/ 61913 h 381000"/>
              <a:gd name="connsiteX4" fmla="*/ 0 w 381000"/>
              <a:gd name="connsiteY4" fmla="*/ 76200 h 381000"/>
              <a:gd name="connsiteX5" fmla="*/ 342900 w 381000"/>
              <a:gd name="connsiteY5" fmla="*/ 76200 h 381000"/>
              <a:gd name="connsiteX6" fmla="*/ 342900 w 381000"/>
              <a:gd name="connsiteY6" fmla="*/ 61913 h 381000"/>
              <a:gd name="connsiteX7" fmla="*/ 342900 w 381000"/>
              <a:gd name="connsiteY7" fmla="*/ 171865 h 381000"/>
              <a:gd name="connsiteX8" fmla="*/ 342900 w 381000"/>
              <a:gd name="connsiteY8" fmla="*/ 104775 h 381000"/>
              <a:gd name="connsiteX9" fmla="*/ 0 w 381000"/>
              <a:gd name="connsiteY9" fmla="*/ 104775 h 381000"/>
              <a:gd name="connsiteX10" fmla="*/ 0 w 381000"/>
              <a:gd name="connsiteY10" fmla="*/ 280988 h 381000"/>
              <a:gd name="connsiteX11" fmla="*/ 61913 w 381000"/>
              <a:gd name="connsiteY11" fmla="*/ 342900 h 381000"/>
              <a:gd name="connsiteX12" fmla="*/ 171865 w 381000"/>
              <a:gd name="connsiteY12" fmla="*/ 342900 h 381000"/>
              <a:gd name="connsiteX13" fmla="*/ 152400 w 381000"/>
              <a:gd name="connsiteY13" fmla="*/ 276225 h 381000"/>
              <a:gd name="connsiteX14" fmla="*/ 276225 w 381000"/>
              <a:gd name="connsiteY14" fmla="*/ 152400 h 381000"/>
              <a:gd name="connsiteX15" fmla="*/ 342900 w 381000"/>
              <a:gd name="connsiteY15" fmla="*/ 17186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64328 w 381000"/>
              <a:gd name="connsiteY21" fmla="*/ 331003 h 381000"/>
              <a:gd name="connsiteX22" fmla="*/ 276225 w 381000"/>
              <a:gd name="connsiteY22" fmla="*/ 319107 h 381000"/>
              <a:gd name="connsiteX23" fmla="*/ 288122 w 381000"/>
              <a:gd name="connsiteY23" fmla="*/ 331003 h 381000"/>
              <a:gd name="connsiteX24" fmla="*/ 276225 w 381000"/>
              <a:gd name="connsiteY24" fmla="*/ 342900 h 381000"/>
              <a:gd name="connsiteX25" fmla="*/ 264328 w 381000"/>
              <a:gd name="connsiteY25" fmla="*/ 331003 h 381000"/>
              <a:gd name="connsiteX26" fmla="*/ 240920 w 381000"/>
              <a:gd name="connsiteY26" fmla="*/ 244381 h 381000"/>
              <a:gd name="connsiteX27" fmla="*/ 276225 w 381000"/>
              <a:gd name="connsiteY27" fmla="*/ 207152 h 381000"/>
              <a:gd name="connsiteX28" fmla="*/ 311532 w 381000"/>
              <a:gd name="connsiteY28" fmla="*/ 244290 h 381000"/>
              <a:gd name="connsiteX29" fmla="*/ 301468 w 381000"/>
              <a:gd name="connsiteY29" fmla="*/ 268914 h 381000"/>
              <a:gd name="connsiteX30" fmla="*/ 298904 w 381000"/>
              <a:gd name="connsiteY30" fmla="*/ 271868 h 381000"/>
              <a:gd name="connsiteX31" fmla="*/ 293841 w 381000"/>
              <a:gd name="connsiteY31" fmla="*/ 277400 h 381000"/>
              <a:gd name="connsiteX32" fmla="*/ 291918 w 381000"/>
              <a:gd name="connsiteY32" fmla="*/ 279601 h 381000"/>
              <a:gd name="connsiteX33" fmla="*/ 290301 w 381000"/>
              <a:gd name="connsiteY33" fmla="*/ 281584 h 381000"/>
              <a:gd name="connsiteX34" fmla="*/ 285750 w 381000"/>
              <a:gd name="connsiteY34" fmla="*/ 292829 h 381000"/>
              <a:gd name="connsiteX35" fmla="*/ 276225 w 381000"/>
              <a:gd name="connsiteY35" fmla="*/ 302354 h 381000"/>
              <a:gd name="connsiteX36" fmla="*/ 266700 w 381000"/>
              <a:gd name="connsiteY36" fmla="*/ 292829 h 381000"/>
              <a:gd name="connsiteX37" fmla="*/ 276886 w 381000"/>
              <a:gd name="connsiteY37" fmla="*/ 267872 h 381000"/>
              <a:gd name="connsiteX38" fmla="*/ 279484 w 381000"/>
              <a:gd name="connsiteY38" fmla="*/ 264877 h 381000"/>
              <a:gd name="connsiteX39" fmla="*/ 284540 w 381000"/>
              <a:gd name="connsiteY39" fmla="*/ 259351 h 381000"/>
              <a:gd name="connsiteX40" fmla="*/ 286426 w 381000"/>
              <a:gd name="connsiteY40" fmla="*/ 257192 h 381000"/>
              <a:gd name="connsiteX41" fmla="*/ 288217 w 381000"/>
              <a:gd name="connsiteY41" fmla="*/ 254986 h 381000"/>
              <a:gd name="connsiteX42" fmla="*/ 292482 w 381000"/>
              <a:gd name="connsiteY42" fmla="*/ 244290 h 381000"/>
              <a:gd name="connsiteX43" fmla="*/ 276225 w 381000"/>
              <a:gd name="connsiteY43" fmla="*/ 226202 h 381000"/>
              <a:gd name="connsiteX44" fmla="*/ 259968 w 381000"/>
              <a:gd name="connsiteY44" fmla="*/ 244198 h 381000"/>
              <a:gd name="connsiteX45" fmla="*/ 250534 w 381000"/>
              <a:gd name="connsiteY45" fmla="*/ 253813 h 381000"/>
              <a:gd name="connsiteX46" fmla="*/ 240920 w 381000"/>
              <a:gd name="connsiteY46" fmla="*/ 24438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1000" h="381000">
                <a:moveTo>
                  <a:pt x="342900" y="61913"/>
                </a:moveTo>
                <a:cubicBezTo>
                  <a:pt x="342900" y="27719"/>
                  <a:pt x="315180" y="0"/>
                  <a:pt x="280988" y="0"/>
                </a:cubicBezTo>
                <a:lnTo>
                  <a:pt x="61913" y="0"/>
                </a:lnTo>
                <a:cubicBezTo>
                  <a:pt x="27719" y="0"/>
                  <a:pt x="0" y="27719"/>
                  <a:pt x="0" y="61913"/>
                </a:cubicBezTo>
                <a:lnTo>
                  <a:pt x="0" y="76200"/>
                </a:lnTo>
                <a:lnTo>
                  <a:pt x="342900" y="76200"/>
                </a:lnTo>
                <a:lnTo>
                  <a:pt x="342900" y="61913"/>
                </a:lnTo>
                <a:close/>
                <a:moveTo>
                  <a:pt x="342900" y="171865"/>
                </a:moveTo>
                <a:lnTo>
                  <a:pt x="342900" y="104775"/>
                </a:lnTo>
                <a:lnTo>
                  <a:pt x="0" y="104775"/>
                </a:lnTo>
                <a:lnTo>
                  <a:pt x="0" y="280988"/>
                </a:lnTo>
                <a:cubicBezTo>
                  <a:pt x="0" y="315180"/>
                  <a:pt x="27719" y="342900"/>
                  <a:pt x="61913" y="342900"/>
                </a:cubicBezTo>
                <a:lnTo>
                  <a:pt x="171865" y="342900"/>
                </a:lnTo>
                <a:cubicBezTo>
                  <a:pt x="159544" y="323654"/>
                  <a:pt x="152400" y="300773"/>
                  <a:pt x="152400" y="276225"/>
                </a:cubicBezTo>
                <a:cubicBezTo>
                  <a:pt x="152400" y="207837"/>
                  <a:pt x="207837" y="152400"/>
                  <a:pt x="276225" y="152400"/>
                </a:cubicBezTo>
                <a:cubicBezTo>
                  <a:pt x="300773" y="152400"/>
                  <a:pt x="323654" y="159544"/>
                  <a:pt x="342900" y="171865"/>
                </a:cubicBez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64328" y="331003"/>
                </a:moveTo>
                <a:cubicBezTo>
                  <a:pt x="264328" y="324433"/>
                  <a:pt x="269655" y="319107"/>
                  <a:pt x="276225" y="319107"/>
                </a:cubicBezTo>
                <a:cubicBezTo>
                  <a:pt x="282795" y="319107"/>
                  <a:pt x="288122" y="324433"/>
                  <a:pt x="288122" y="331003"/>
                </a:cubicBezTo>
                <a:cubicBezTo>
                  <a:pt x="288122" y="337574"/>
                  <a:pt x="282795" y="342900"/>
                  <a:pt x="276225" y="342900"/>
                </a:cubicBezTo>
                <a:cubicBezTo>
                  <a:pt x="269655" y="342900"/>
                  <a:pt x="264328" y="337574"/>
                  <a:pt x="264328" y="331003"/>
                </a:cubicBezTo>
                <a:close/>
                <a:moveTo>
                  <a:pt x="240920" y="244381"/>
                </a:moveTo>
                <a:cubicBezTo>
                  <a:pt x="240712" y="222723"/>
                  <a:pt x="256263" y="207152"/>
                  <a:pt x="276225" y="207152"/>
                </a:cubicBezTo>
                <a:cubicBezTo>
                  <a:pt x="295867" y="207152"/>
                  <a:pt x="311532" y="223264"/>
                  <a:pt x="311532" y="244290"/>
                </a:cubicBezTo>
                <a:cubicBezTo>
                  <a:pt x="311532" y="253994"/>
                  <a:pt x="308675" y="260324"/>
                  <a:pt x="301468" y="268914"/>
                </a:cubicBezTo>
                <a:lnTo>
                  <a:pt x="298904" y="271868"/>
                </a:lnTo>
                <a:lnTo>
                  <a:pt x="293841" y="277400"/>
                </a:lnTo>
                <a:lnTo>
                  <a:pt x="291918" y="279601"/>
                </a:lnTo>
                <a:lnTo>
                  <a:pt x="290301" y="281584"/>
                </a:lnTo>
                <a:cubicBezTo>
                  <a:pt x="286864" y="285990"/>
                  <a:pt x="285750" y="288958"/>
                  <a:pt x="285750" y="292829"/>
                </a:cubicBezTo>
                <a:cubicBezTo>
                  <a:pt x="285750" y="298089"/>
                  <a:pt x="281487" y="302354"/>
                  <a:pt x="276225" y="302354"/>
                </a:cubicBezTo>
                <a:cubicBezTo>
                  <a:pt x="270965" y="302354"/>
                  <a:pt x="266700" y="298089"/>
                  <a:pt x="266700" y="292829"/>
                </a:cubicBezTo>
                <a:cubicBezTo>
                  <a:pt x="266700" y="282969"/>
                  <a:pt x="269582" y="276572"/>
                  <a:pt x="276886" y="267872"/>
                </a:cubicBezTo>
                <a:lnTo>
                  <a:pt x="279484" y="264877"/>
                </a:lnTo>
                <a:lnTo>
                  <a:pt x="284540" y="259351"/>
                </a:lnTo>
                <a:lnTo>
                  <a:pt x="286426" y="257192"/>
                </a:lnTo>
                <a:lnTo>
                  <a:pt x="288217" y="254986"/>
                </a:lnTo>
                <a:cubicBezTo>
                  <a:pt x="291429" y="250810"/>
                  <a:pt x="292482" y="247951"/>
                  <a:pt x="292482" y="244290"/>
                </a:cubicBezTo>
                <a:cubicBezTo>
                  <a:pt x="292482" y="233667"/>
                  <a:pt x="285224" y="226202"/>
                  <a:pt x="276225" y="226202"/>
                </a:cubicBezTo>
                <a:cubicBezTo>
                  <a:pt x="266820" y="226202"/>
                  <a:pt x="259863" y="233168"/>
                  <a:pt x="259968" y="244198"/>
                </a:cubicBezTo>
                <a:cubicBezTo>
                  <a:pt x="260019" y="249458"/>
                  <a:pt x="255796" y="253763"/>
                  <a:pt x="250534" y="253813"/>
                </a:cubicBezTo>
                <a:cubicBezTo>
                  <a:pt x="245274" y="253864"/>
                  <a:pt x="240969" y="249641"/>
                  <a:pt x="240920" y="244381"/>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5" name="Graphic 38">
            <a:extLst>
              <a:ext uri="{FF2B5EF4-FFF2-40B4-BE49-F238E27FC236}">
                <a16:creationId xmlns:a16="http://schemas.microsoft.com/office/drawing/2014/main" id="{FF1232C1-4540-D849-A825-E218E14A119A}"/>
              </a:ext>
              <a:ext uri="{C183D7F6-B498-43B3-948B-1728B52AA6E4}">
                <adec:decorative xmlns:adec="http://schemas.microsoft.com/office/drawing/2017/decorative" val="1"/>
              </a:ext>
            </a:extLst>
          </p:cNvPr>
          <p:cNvSpPr/>
          <p:nvPr/>
        </p:nvSpPr>
        <p:spPr>
          <a:xfrm>
            <a:off x="1114846" y="2653141"/>
            <a:ext cx="411354" cy="424624"/>
          </a:xfrm>
          <a:custGeom>
            <a:avLst/>
            <a:gdLst>
              <a:gd name="connsiteX0" fmla="*/ 354330 w 354330"/>
              <a:gd name="connsiteY0" fmla="*/ 262890 h 365761"/>
              <a:gd name="connsiteX1" fmla="*/ 354330 w 354330"/>
              <a:gd name="connsiteY1" fmla="*/ 91440 h 365761"/>
              <a:gd name="connsiteX2" fmla="*/ 34290 w 354330"/>
              <a:gd name="connsiteY2" fmla="*/ 91440 h 365761"/>
              <a:gd name="connsiteX3" fmla="*/ 34290 w 354330"/>
              <a:gd name="connsiteY3" fmla="*/ 147853 h 365761"/>
              <a:gd name="connsiteX4" fmla="*/ 80010 w 354330"/>
              <a:gd name="connsiteY4" fmla="*/ 137160 h 365761"/>
              <a:gd name="connsiteX5" fmla="*/ 182880 w 354330"/>
              <a:gd name="connsiteY5" fmla="*/ 240030 h 365761"/>
              <a:gd name="connsiteX6" fmla="*/ 172855 w 354330"/>
              <a:gd name="connsiteY6" fmla="*/ 284381 h 365761"/>
              <a:gd name="connsiteX7" fmla="*/ 208513 w 354330"/>
              <a:gd name="connsiteY7" fmla="*/ 320040 h 365761"/>
              <a:gd name="connsiteX8" fmla="*/ 297180 w 354330"/>
              <a:gd name="connsiteY8" fmla="*/ 320040 h 365761"/>
              <a:gd name="connsiteX9" fmla="*/ 354330 w 354330"/>
              <a:gd name="connsiteY9" fmla="*/ 262890 h 365761"/>
              <a:gd name="connsiteX10" fmla="*/ 354330 w 354330"/>
              <a:gd name="connsiteY10" fmla="*/ 57150 h 365761"/>
              <a:gd name="connsiteX11" fmla="*/ 297180 w 354330"/>
              <a:gd name="connsiteY11" fmla="*/ 0 h 365761"/>
              <a:gd name="connsiteX12" fmla="*/ 91440 w 354330"/>
              <a:gd name="connsiteY12" fmla="*/ 0 h 365761"/>
              <a:gd name="connsiteX13" fmla="*/ 34290 w 354330"/>
              <a:gd name="connsiteY13" fmla="*/ 57150 h 365761"/>
              <a:gd name="connsiteX14" fmla="*/ 34290 w 354330"/>
              <a:gd name="connsiteY14" fmla="*/ 68580 h 365761"/>
              <a:gd name="connsiteX15" fmla="*/ 354330 w 354330"/>
              <a:gd name="connsiteY15" fmla="*/ 68580 h 365761"/>
              <a:gd name="connsiteX16" fmla="*/ 354330 w 354330"/>
              <a:gd name="connsiteY16" fmla="*/ 57150 h 365761"/>
              <a:gd name="connsiteX17" fmla="*/ 127926 w 354330"/>
              <a:gd name="connsiteY17" fmla="*/ 304111 h 365761"/>
              <a:gd name="connsiteX18" fmla="*/ 80010 w 354330"/>
              <a:gd name="connsiteY18" fmla="*/ 320040 h 365761"/>
              <a:gd name="connsiteX19" fmla="*/ 0 w 354330"/>
              <a:gd name="connsiteY19" fmla="*/ 240030 h 365761"/>
              <a:gd name="connsiteX20" fmla="*/ 80010 w 354330"/>
              <a:gd name="connsiteY20" fmla="*/ 160020 h 365761"/>
              <a:gd name="connsiteX21" fmla="*/ 160020 w 354330"/>
              <a:gd name="connsiteY21" fmla="*/ 240030 h 365761"/>
              <a:gd name="connsiteX22" fmla="*/ 144091 w 354330"/>
              <a:gd name="connsiteY22" fmla="*/ 287947 h 365761"/>
              <a:gd name="connsiteX23" fmla="*/ 202393 w 354330"/>
              <a:gd name="connsiteY23" fmla="*/ 346249 h 365761"/>
              <a:gd name="connsiteX24" fmla="*/ 202391 w 354330"/>
              <a:gd name="connsiteY24" fmla="*/ 362413 h 365761"/>
              <a:gd name="connsiteX25" fmla="*/ 186228 w 354330"/>
              <a:gd name="connsiteY25" fmla="*/ 362413 h 365761"/>
              <a:gd name="connsiteX26" fmla="*/ 127926 w 354330"/>
              <a:gd name="connsiteY26" fmla="*/ 304111 h 365761"/>
              <a:gd name="connsiteX27" fmla="*/ 137160 w 354330"/>
              <a:gd name="connsiteY27" fmla="*/ 240030 h 365761"/>
              <a:gd name="connsiteX28" fmla="*/ 80010 w 354330"/>
              <a:gd name="connsiteY28" fmla="*/ 182880 h 365761"/>
              <a:gd name="connsiteX29" fmla="*/ 22860 w 354330"/>
              <a:gd name="connsiteY29" fmla="*/ 240030 h 365761"/>
              <a:gd name="connsiteX30" fmla="*/ 80010 w 354330"/>
              <a:gd name="connsiteY30" fmla="*/ 297180 h 365761"/>
              <a:gd name="connsiteX31" fmla="*/ 137160 w 354330"/>
              <a:gd name="connsiteY31" fmla="*/ 240030 h 36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330" h="365761">
                <a:moveTo>
                  <a:pt x="354330" y="262890"/>
                </a:moveTo>
                <a:lnTo>
                  <a:pt x="354330" y="91440"/>
                </a:lnTo>
                <a:lnTo>
                  <a:pt x="34290" y="91440"/>
                </a:lnTo>
                <a:lnTo>
                  <a:pt x="34290" y="147853"/>
                </a:lnTo>
                <a:cubicBezTo>
                  <a:pt x="48063" y="141008"/>
                  <a:pt x="63587" y="137160"/>
                  <a:pt x="80010" y="137160"/>
                </a:cubicBezTo>
                <a:cubicBezTo>
                  <a:pt x="136824" y="137160"/>
                  <a:pt x="182880" y="183216"/>
                  <a:pt x="182880" y="240030"/>
                </a:cubicBezTo>
                <a:cubicBezTo>
                  <a:pt x="182880" y="255911"/>
                  <a:pt x="179281" y="270953"/>
                  <a:pt x="172855" y="284381"/>
                </a:cubicBezTo>
                <a:lnTo>
                  <a:pt x="208513" y="320040"/>
                </a:lnTo>
                <a:lnTo>
                  <a:pt x="297180" y="320040"/>
                </a:lnTo>
                <a:cubicBezTo>
                  <a:pt x="328743" y="320040"/>
                  <a:pt x="354330" y="294453"/>
                  <a:pt x="354330" y="262890"/>
                </a:cubicBezTo>
                <a:close/>
                <a:moveTo>
                  <a:pt x="354330" y="57150"/>
                </a:moveTo>
                <a:cubicBezTo>
                  <a:pt x="354330" y="25587"/>
                  <a:pt x="328743" y="0"/>
                  <a:pt x="297180" y="0"/>
                </a:cubicBezTo>
                <a:lnTo>
                  <a:pt x="91440" y="0"/>
                </a:lnTo>
                <a:cubicBezTo>
                  <a:pt x="59877" y="0"/>
                  <a:pt x="34290" y="25587"/>
                  <a:pt x="34290" y="57150"/>
                </a:cubicBezTo>
                <a:lnTo>
                  <a:pt x="34290" y="68580"/>
                </a:lnTo>
                <a:lnTo>
                  <a:pt x="354330" y="68580"/>
                </a:lnTo>
                <a:lnTo>
                  <a:pt x="354330" y="57150"/>
                </a:lnTo>
                <a:close/>
                <a:moveTo>
                  <a:pt x="127926" y="304111"/>
                </a:moveTo>
                <a:cubicBezTo>
                  <a:pt x="114570" y="314115"/>
                  <a:pt x="97982" y="320040"/>
                  <a:pt x="80010" y="320040"/>
                </a:cubicBezTo>
                <a:cubicBezTo>
                  <a:pt x="35822" y="320040"/>
                  <a:pt x="0" y="284218"/>
                  <a:pt x="0" y="240030"/>
                </a:cubicBezTo>
                <a:cubicBezTo>
                  <a:pt x="0" y="195842"/>
                  <a:pt x="35822" y="160020"/>
                  <a:pt x="80010" y="160020"/>
                </a:cubicBezTo>
                <a:cubicBezTo>
                  <a:pt x="124198" y="160020"/>
                  <a:pt x="160020" y="195842"/>
                  <a:pt x="160020" y="240030"/>
                </a:cubicBezTo>
                <a:cubicBezTo>
                  <a:pt x="160020" y="258003"/>
                  <a:pt x="154095" y="274590"/>
                  <a:pt x="144091" y="287947"/>
                </a:cubicBezTo>
                <a:lnTo>
                  <a:pt x="202393" y="346249"/>
                </a:lnTo>
                <a:cubicBezTo>
                  <a:pt x="206856" y="350714"/>
                  <a:pt x="206856" y="357951"/>
                  <a:pt x="202391" y="362413"/>
                </a:cubicBezTo>
                <a:cubicBezTo>
                  <a:pt x="197929" y="366878"/>
                  <a:pt x="190691" y="366878"/>
                  <a:pt x="186228" y="362413"/>
                </a:cubicBezTo>
                <a:lnTo>
                  <a:pt x="127926" y="304111"/>
                </a:lnTo>
                <a:close/>
                <a:moveTo>
                  <a:pt x="137160" y="240030"/>
                </a:moveTo>
                <a:cubicBezTo>
                  <a:pt x="137160" y="208467"/>
                  <a:pt x="111573" y="182880"/>
                  <a:pt x="80010" y="182880"/>
                </a:cubicBezTo>
                <a:cubicBezTo>
                  <a:pt x="48447" y="182880"/>
                  <a:pt x="22860" y="208467"/>
                  <a:pt x="22860" y="240030"/>
                </a:cubicBezTo>
                <a:cubicBezTo>
                  <a:pt x="22860" y="271593"/>
                  <a:pt x="48447" y="297180"/>
                  <a:pt x="80010" y="297180"/>
                </a:cubicBezTo>
                <a:cubicBezTo>
                  <a:pt x="111573" y="297180"/>
                  <a:pt x="137160" y="271593"/>
                  <a:pt x="137160" y="24003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3" name="Graphic 159">
            <a:extLst>
              <a:ext uri="{FF2B5EF4-FFF2-40B4-BE49-F238E27FC236}">
                <a16:creationId xmlns:a16="http://schemas.microsoft.com/office/drawing/2014/main" id="{149E9AE4-21E7-7462-E6D1-2AAF23A540FA}"/>
              </a:ext>
              <a:ext uri="{C183D7F6-B498-43B3-948B-1728B52AA6E4}">
                <adec:decorative xmlns:adec="http://schemas.microsoft.com/office/drawing/2017/decorative" val="1"/>
              </a:ext>
            </a:extLst>
          </p:cNvPr>
          <p:cNvSpPr/>
          <p:nvPr/>
        </p:nvSpPr>
        <p:spPr>
          <a:xfrm>
            <a:off x="6212580" y="5259672"/>
            <a:ext cx="442316" cy="442316"/>
          </a:xfrm>
          <a:custGeom>
            <a:avLst/>
            <a:gdLst>
              <a:gd name="connsiteX0" fmla="*/ 162310 w 380999"/>
              <a:gd name="connsiteY0" fmla="*/ 315761 h 381000"/>
              <a:gd name="connsiteX1" fmla="*/ 155532 w 380999"/>
              <a:gd name="connsiteY1" fmla="*/ 342870 h 381000"/>
              <a:gd name="connsiteX2" fmla="*/ 61907 w 380999"/>
              <a:gd name="connsiteY2" fmla="*/ 342870 h 381000"/>
              <a:gd name="connsiteX3" fmla="*/ 0 w 380999"/>
              <a:gd name="connsiteY3" fmla="*/ 280963 h 381000"/>
              <a:gd name="connsiteX4" fmla="*/ 0 w 380999"/>
              <a:gd name="connsiteY4" fmla="*/ 104766 h 381000"/>
              <a:gd name="connsiteX5" fmla="*/ 342870 w 380999"/>
              <a:gd name="connsiteY5" fmla="*/ 104766 h 381000"/>
              <a:gd name="connsiteX6" fmla="*/ 342870 w 380999"/>
              <a:gd name="connsiteY6" fmla="*/ 152619 h 381000"/>
              <a:gd name="connsiteX7" fmla="*/ 293204 w 380999"/>
              <a:gd name="connsiteY7" fmla="*/ 170718 h 381000"/>
              <a:gd name="connsiteX8" fmla="*/ 180773 w 380999"/>
              <a:gd name="connsiteY8" fmla="*/ 283150 h 381000"/>
              <a:gd name="connsiteX9" fmla="*/ 162310 w 380999"/>
              <a:gd name="connsiteY9" fmla="*/ 315761 h 381000"/>
              <a:gd name="connsiteX10" fmla="*/ 342870 w 380999"/>
              <a:gd name="connsiteY10" fmla="*/ 61907 h 381000"/>
              <a:gd name="connsiteX11" fmla="*/ 280963 w 380999"/>
              <a:gd name="connsiteY11" fmla="*/ 0 h 381000"/>
              <a:gd name="connsiteX12" fmla="*/ 61907 w 380999"/>
              <a:gd name="connsiteY12" fmla="*/ 0 h 381000"/>
              <a:gd name="connsiteX13" fmla="*/ 0 w 380999"/>
              <a:gd name="connsiteY13" fmla="*/ 61907 h 381000"/>
              <a:gd name="connsiteX14" fmla="*/ 0 w 380999"/>
              <a:gd name="connsiteY14" fmla="*/ 76193 h 381000"/>
              <a:gd name="connsiteX15" fmla="*/ 342870 w 380999"/>
              <a:gd name="connsiteY15" fmla="*/ 76193 h 381000"/>
              <a:gd name="connsiteX16" fmla="*/ 342870 w 380999"/>
              <a:gd name="connsiteY16" fmla="*/ 61907 h 381000"/>
              <a:gd name="connsiteX17" fmla="*/ 306675 w 380999"/>
              <a:gd name="connsiteY17" fmla="*/ 184187 h 381000"/>
              <a:gd name="connsiteX18" fmla="*/ 194243 w 380999"/>
              <a:gd name="connsiteY18" fmla="*/ 296618 h 381000"/>
              <a:gd name="connsiteX19" fmla="*/ 180790 w 380999"/>
              <a:gd name="connsiteY19" fmla="*/ 320381 h 381000"/>
              <a:gd name="connsiteX20" fmla="*/ 172073 w 380999"/>
              <a:gd name="connsiteY20" fmla="*/ 355252 h 381000"/>
              <a:gd name="connsiteX21" fmla="*/ 197183 w 380999"/>
              <a:gd name="connsiteY21" fmla="*/ 380364 h 381000"/>
              <a:gd name="connsiteX22" fmla="*/ 232054 w 380999"/>
              <a:gd name="connsiteY22" fmla="*/ 371645 h 381000"/>
              <a:gd name="connsiteX23" fmla="*/ 255817 w 380999"/>
              <a:gd name="connsiteY23" fmla="*/ 358191 h 381000"/>
              <a:gd name="connsiteX24" fmla="*/ 368248 w 380999"/>
              <a:gd name="connsiteY24" fmla="*/ 245760 h 381000"/>
              <a:gd name="connsiteX25" fmla="*/ 368248 w 380999"/>
              <a:gd name="connsiteY25" fmla="*/ 184187 h 381000"/>
              <a:gd name="connsiteX26" fmla="*/ 306675 w 380999"/>
              <a:gd name="connsiteY26" fmla="*/ 18418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0999" h="381000">
                <a:moveTo>
                  <a:pt x="162310" y="315761"/>
                </a:moveTo>
                <a:lnTo>
                  <a:pt x="155532" y="342870"/>
                </a:lnTo>
                <a:lnTo>
                  <a:pt x="61907" y="342870"/>
                </a:lnTo>
                <a:cubicBezTo>
                  <a:pt x="27717" y="342870"/>
                  <a:pt x="0" y="315154"/>
                  <a:pt x="0" y="280963"/>
                </a:cubicBezTo>
                <a:lnTo>
                  <a:pt x="0" y="104766"/>
                </a:lnTo>
                <a:lnTo>
                  <a:pt x="342870" y="104766"/>
                </a:lnTo>
                <a:lnTo>
                  <a:pt x="342870" y="152619"/>
                </a:lnTo>
                <a:cubicBezTo>
                  <a:pt x="325102" y="151087"/>
                  <a:pt x="306802" y="157121"/>
                  <a:pt x="293204" y="170718"/>
                </a:cubicBezTo>
                <a:lnTo>
                  <a:pt x="180773" y="283150"/>
                </a:lnTo>
                <a:cubicBezTo>
                  <a:pt x="171778" y="292145"/>
                  <a:pt x="165394" y="303417"/>
                  <a:pt x="162310" y="315761"/>
                </a:cubicBezTo>
                <a:close/>
                <a:moveTo>
                  <a:pt x="342870" y="61907"/>
                </a:moveTo>
                <a:cubicBezTo>
                  <a:pt x="342870" y="27717"/>
                  <a:pt x="315154" y="0"/>
                  <a:pt x="280963" y="0"/>
                </a:cubicBezTo>
                <a:lnTo>
                  <a:pt x="61907" y="0"/>
                </a:lnTo>
                <a:cubicBezTo>
                  <a:pt x="27717" y="0"/>
                  <a:pt x="0" y="27717"/>
                  <a:pt x="0" y="61907"/>
                </a:cubicBezTo>
                <a:lnTo>
                  <a:pt x="0" y="76193"/>
                </a:lnTo>
                <a:lnTo>
                  <a:pt x="342870" y="76193"/>
                </a:lnTo>
                <a:lnTo>
                  <a:pt x="342870" y="61907"/>
                </a:lnTo>
                <a:close/>
                <a:moveTo>
                  <a:pt x="306675" y="184187"/>
                </a:moveTo>
                <a:lnTo>
                  <a:pt x="194243" y="296618"/>
                </a:lnTo>
                <a:cubicBezTo>
                  <a:pt x="187688" y="303173"/>
                  <a:pt x="183038" y="311388"/>
                  <a:pt x="180790" y="320381"/>
                </a:cubicBezTo>
                <a:lnTo>
                  <a:pt x="172073" y="355252"/>
                </a:lnTo>
                <a:cubicBezTo>
                  <a:pt x="168280" y="370418"/>
                  <a:pt x="182017" y="384155"/>
                  <a:pt x="197183" y="380364"/>
                </a:cubicBezTo>
                <a:lnTo>
                  <a:pt x="232054" y="371645"/>
                </a:lnTo>
                <a:cubicBezTo>
                  <a:pt x="241047" y="369397"/>
                  <a:pt x="249262" y="364747"/>
                  <a:pt x="255817" y="358191"/>
                </a:cubicBezTo>
                <a:lnTo>
                  <a:pt x="368248" y="245760"/>
                </a:lnTo>
                <a:cubicBezTo>
                  <a:pt x="385250" y="228756"/>
                  <a:pt x="385250" y="201189"/>
                  <a:pt x="368248" y="184187"/>
                </a:cubicBezTo>
                <a:cubicBezTo>
                  <a:pt x="351246" y="167185"/>
                  <a:pt x="323679" y="167185"/>
                  <a:pt x="306675" y="18418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117" name="Graphic 123">
            <a:extLst>
              <a:ext uri="{FF2B5EF4-FFF2-40B4-BE49-F238E27FC236}">
                <a16:creationId xmlns:a16="http://schemas.microsoft.com/office/drawing/2014/main" id="{79BE5FD8-7A61-0805-0A5A-80ED7FFBB309}"/>
              </a:ext>
              <a:ext uri="{C183D7F6-B498-43B3-948B-1728B52AA6E4}">
                <adec:decorative xmlns:adec="http://schemas.microsoft.com/office/drawing/2017/decorative" val="1"/>
              </a:ext>
            </a:extLst>
          </p:cNvPr>
          <p:cNvSpPr>
            <a:spLocks/>
          </p:cNvSpPr>
          <p:nvPr/>
        </p:nvSpPr>
        <p:spPr>
          <a:xfrm>
            <a:off x="1114846" y="5219560"/>
            <a:ext cx="442316" cy="442316"/>
          </a:xfrm>
          <a:custGeom>
            <a:avLst/>
            <a:gdLst>
              <a:gd name="connsiteX0" fmla="*/ 280988 w 381000"/>
              <a:gd name="connsiteY0" fmla="*/ 0 h 381000"/>
              <a:gd name="connsiteX1" fmla="*/ 342900 w 381000"/>
              <a:gd name="connsiteY1" fmla="*/ 61913 h 381000"/>
              <a:gd name="connsiteX2" fmla="*/ 342900 w 381000"/>
              <a:gd name="connsiteY2" fmla="*/ 76200 h 381000"/>
              <a:gd name="connsiteX3" fmla="*/ 0 w 381000"/>
              <a:gd name="connsiteY3" fmla="*/ 76200 h 381000"/>
              <a:gd name="connsiteX4" fmla="*/ 0 w 381000"/>
              <a:gd name="connsiteY4" fmla="*/ 61913 h 381000"/>
              <a:gd name="connsiteX5" fmla="*/ 61913 w 381000"/>
              <a:gd name="connsiteY5" fmla="*/ 0 h 381000"/>
              <a:gd name="connsiteX6" fmla="*/ 280988 w 381000"/>
              <a:gd name="connsiteY6" fmla="*/ 0 h 381000"/>
              <a:gd name="connsiteX7" fmla="*/ 342900 w 381000"/>
              <a:gd name="connsiteY7" fmla="*/ 104775 h 381000"/>
              <a:gd name="connsiteX8" fmla="*/ 342900 w 381000"/>
              <a:gd name="connsiteY8" fmla="*/ 171865 h 381000"/>
              <a:gd name="connsiteX9" fmla="*/ 276225 w 381000"/>
              <a:gd name="connsiteY9" fmla="*/ 152400 h 381000"/>
              <a:gd name="connsiteX10" fmla="*/ 152400 w 381000"/>
              <a:gd name="connsiteY10" fmla="*/ 276225 h 381000"/>
              <a:gd name="connsiteX11" fmla="*/ 171865 w 381000"/>
              <a:gd name="connsiteY11" fmla="*/ 342900 h 381000"/>
              <a:gd name="connsiteX12" fmla="*/ 61913 w 381000"/>
              <a:gd name="connsiteY12" fmla="*/ 342900 h 381000"/>
              <a:gd name="connsiteX13" fmla="*/ 0 w 381000"/>
              <a:gd name="connsiteY13" fmla="*/ 280988 h 381000"/>
              <a:gd name="connsiteX14" fmla="*/ 0 w 381000"/>
              <a:gd name="connsiteY14" fmla="*/ 104775 h 381000"/>
              <a:gd name="connsiteX15" fmla="*/ 342900 w 381000"/>
              <a:gd name="connsiteY15" fmla="*/ 10477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76225 w 381000"/>
              <a:gd name="connsiteY21" fmla="*/ 276227 h 381000"/>
              <a:gd name="connsiteX22" fmla="*/ 314325 w 381000"/>
              <a:gd name="connsiteY22" fmla="*/ 276227 h 381000"/>
              <a:gd name="connsiteX23" fmla="*/ 323850 w 381000"/>
              <a:gd name="connsiteY23" fmla="*/ 285752 h 381000"/>
              <a:gd name="connsiteX24" fmla="*/ 314325 w 381000"/>
              <a:gd name="connsiteY24" fmla="*/ 295277 h 381000"/>
              <a:gd name="connsiteX25" fmla="*/ 266700 w 381000"/>
              <a:gd name="connsiteY25" fmla="*/ 295277 h 381000"/>
              <a:gd name="connsiteX26" fmla="*/ 257175 w 381000"/>
              <a:gd name="connsiteY26" fmla="*/ 285752 h 381000"/>
              <a:gd name="connsiteX27" fmla="*/ 257175 w 381000"/>
              <a:gd name="connsiteY27" fmla="*/ 285721 h 381000"/>
              <a:gd name="connsiteX28" fmla="*/ 257175 w 381000"/>
              <a:gd name="connsiteY28" fmla="*/ 228598 h 381000"/>
              <a:gd name="connsiteX29" fmla="*/ 266700 w 381000"/>
              <a:gd name="connsiteY29" fmla="*/ 219073 h 381000"/>
              <a:gd name="connsiteX30" fmla="*/ 276225 w 381000"/>
              <a:gd name="connsiteY30" fmla="*/ 228598 h 381000"/>
              <a:gd name="connsiteX31" fmla="*/ 276225 w 381000"/>
              <a:gd name="connsiteY31" fmla="*/ 27622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1000" h="381000">
                <a:moveTo>
                  <a:pt x="280988" y="0"/>
                </a:moveTo>
                <a:cubicBezTo>
                  <a:pt x="315180" y="0"/>
                  <a:pt x="342900" y="27719"/>
                  <a:pt x="342900" y="61913"/>
                </a:cubicBezTo>
                <a:lnTo>
                  <a:pt x="342900" y="76200"/>
                </a:lnTo>
                <a:lnTo>
                  <a:pt x="0" y="76200"/>
                </a:lnTo>
                <a:lnTo>
                  <a:pt x="0" y="61913"/>
                </a:lnTo>
                <a:cubicBezTo>
                  <a:pt x="0" y="27719"/>
                  <a:pt x="27719" y="0"/>
                  <a:pt x="61913" y="0"/>
                </a:cubicBezTo>
                <a:lnTo>
                  <a:pt x="280988" y="0"/>
                </a:lnTo>
                <a:close/>
                <a:moveTo>
                  <a:pt x="342900" y="104775"/>
                </a:moveTo>
                <a:lnTo>
                  <a:pt x="342900" y="171865"/>
                </a:lnTo>
                <a:cubicBezTo>
                  <a:pt x="323654" y="159544"/>
                  <a:pt x="300773" y="152400"/>
                  <a:pt x="276225" y="152400"/>
                </a:cubicBezTo>
                <a:cubicBezTo>
                  <a:pt x="207837" y="152400"/>
                  <a:pt x="152400" y="207837"/>
                  <a:pt x="152400" y="276225"/>
                </a:cubicBezTo>
                <a:cubicBezTo>
                  <a:pt x="152400" y="300773"/>
                  <a:pt x="159544" y="323654"/>
                  <a:pt x="171865" y="342900"/>
                </a:cubicBezTo>
                <a:lnTo>
                  <a:pt x="61913" y="342900"/>
                </a:lnTo>
                <a:cubicBezTo>
                  <a:pt x="27719" y="342900"/>
                  <a:pt x="0" y="315180"/>
                  <a:pt x="0" y="280988"/>
                </a:cubicBezTo>
                <a:lnTo>
                  <a:pt x="0" y="104775"/>
                </a:lnTo>
                <a:lnTo>
                  <a:pt x="342900" y="104775"/>
                </a:ln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76225" y="276227"/>
                </a:moveTo>
                <a:lnTo>
                  <a:pt x="314325" y="276227"/>
                </a:lnTo>
                <a:cubicBezTo>
                  <a:pt x="319585" y="276227"/>
                  <a:pt x="323850" y="280490"/>
                  <a:pt x="323850" y="285752"/>
                </a:cubicBezTo>
                <a:cubicBezTo>
                  <a:pt x="323850" y="291012"/>
                  <a:pt x="319585" y="295277"/>
                  <a:pt x="314325" y="295277"/>
                </a:cubicBezTo>
                <a:lnTo>
                  <a:pt x="266700" y="295277"/>
                </a:lnTo>
                <a:cubicBezTo>
                  <a:pt x="261440" y="295277"/>
                  <a:pt x="257175" y="291012"/>
                  <a:pt x="257175" y="285752"/>
                </a:cubicBezTo>
                <a:lnTo>
                  <a:pt x="257175" y="285721"/>
                </a:lnTo>
                <a:lnTo>
                  <a:pt x="257175" y="228598"/>
                </a:lnTo>
                <a:cubicBezTo>
                  <a:pt x="257175" y="223338"/>
                  <a:pt x="261440" y="219073"/>
                  <a:pt x="266700" y="219073"/>
                </a:cubicBezTo>
                <a:cubicBezTo>
                  <a:pt x="271960" y="219073"/>
                  <a:pt x="276225" y="223338"/>
                  <a:pt x="276225" y="228598"/>
                </a:cubicBezTo>
                <a:lnTo>
                  <a:pt x="276225" y="276227"/>
                </a:ln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8" name="Graphic 174" descr="Icon of two people with a plus sign">
            <a:extLst>
              <a:ext uri="{FF2B5EF4-FFF2-40B4-BE49-F238E27FC236}">
                <a16:creationId xmlns:a16="http://schemas.microsoft.com/office/drawing/2014/main" id="{5CC1EDF2-40BE-4719-4034-14D0D60768CD}"/>
              </a:ext>
            </a:extLst>
          </p:cNvPr>
          <p:cNvSpPr/>
          <p:nvPr/>
        </p:nvSpPr>
        <p:spPr>
          <a:xfrm>
            <a:off x="6212580" y="3961137"/>
            <a:ext cx="396814" cy="396814"/>
          </a:xfrm>
          <a:custGeom>
            <a:avLst/>
            <a:gdLst>
              <a:gd name="connsiteX0" fmla="*/ 196850 w 266700"/>
              <a:gd name="connsiteY0" fmla="*/ 127000 h 266700"/>
              <a:gd name="connsiteX1" fmla="*/ 266700 w 266700"/>
              <a:gd name="connsiteY1" fmla="*/ 196850 h 266700"/>
              <a:gd name="connsiteX2" fmla="*/ 196850 w 266700"/>
              <a:gd name="connsiteY2" fmla="*/ 266700 h 266700"/>
              <a:gd name="connsiteX3" fmla="*/ 127000 w 266700"/>
              <a:gd name="connsiteY3" fmla="*/ 196850 h 266700"/>
              <a:gd name="connsiteX4" fmla="*/ 196850 w 266700"/>
              <a:gd name="connsiteY4" fmla="*/ 127000 h 266700"/>
              <a:gd name="connsiteX5" fmla="*/ 25400 w 266700"/>
              <a:gd name="connsiteY5" fmla="*/ 139687 h 266700"/>
              <a:gd name="connsiteX6" fmla="*/ 137287 w 266700"/>
              <a:gd name="connsiteY6" fmla="*/ 139700 h 266700"/>
              <a:gd name="connsiteX7" fmla="*/ 114300 w 266700"/>
              <a:gd name="connsiteY7" fmla="*/ 196850 h 266700"/>
              <a:gd name="connsiteX8" fmla="*/ 123685 w 266700"/>
              <a:gd name="connsiteY8" fmla="*/ 235115 h 266700"/>
              <a:gd name="connsiteX9" fmla="*/ 82550 w 266700"/>
              <a:gd name="connsiteY9" fmla="*/ 241300 h 266700"/>
              <a:gd name="connsiteX10" fmla="*/ 64 w 266700"/>
              <a:gd name="connsiteY10" fmla="*/ 187071 h 266700"/>
              <a:gd name="connsiteX11" fmla="*/ 0 w 266700"/>
              <a:gd name="connsiteY11" fmla="*/ 184150 h 266700"/>
              <a:gd name="connsiteX12" fmla="*/ 0 w 266700"/>
              <a:gd name="connsiteY12" fmla="*/ 165087 h 266700"/>
              <a:gd name="connsiteX13" fmla="*/ 25400 w 266700"/>
              <a:gd name="connsiteY13" fmla="*/ 139687 h 266700"/>
              <a:gd name="connsiteX14" fmla="*/ 196850 w 266700"/>
              <a:gd name="connsiteY14" fmla="*/ 152425 h 266700"/>
              <a:gd name="connsiteX15" fmla="*/ 195707 w 266700"/>
              <a:gd name="connsiteY15" fmla="*/ 152527 h 266700"/>
              <a:gd name="connsiteX16" fmla="*/ 190602 w 266700"/>
              <a:gd name="connsiteY16" fmla="*/ 157632 h 266700"/>
              <a:gd name="connsiteX17" fmla="*/ 190500 w 266700"/>
              <a:gd name="connsiteY17" fmla="*/ 158775 h 266700"/>
              <a:gd name="connsiteX18" fmla="*/ 190500 w 266700"/>
              <a:gd name="connsiteY18" fmla="*/ 190500 h 266700"/>
              <a:gd name="connsiteX19" fmla="*/ 158750 w 266700"/>
              <a:gd name="connsiteY19" fmla="*/ 190500 h 266700"/>
              <a:gd name="connsiteX20" fmla="*/ 157607 w 266700"/>
              <a:gd name="connsiteY20" fmla="*/ 190602 h 266700"/>
              <a:gd name="connsiteX21" fmla="*/ 152502 w 266700"/>
              <a:gd name="connsiteY21" fmla="*/ 195707 h 266700"/>
              <a:gd name="connsiteX22" fmla="*/ 152400 w 266700"/>
              <a:gd name="connsiteY22" fmla="*/ 196850 h 266700"/>
              <a:gd name="connsiteX23" fmla="*/ 152502 w 266700"/>
              <a:gd name="connsiteY23" fmla="*/ 197993 h 266700"/>
              <a:gd name="connsiteX24" fmla="*/ 157607 w 266700"/>
              <a:gd name="connsiteY24" fmla="*/ 203098 h 266700"/>
              <a:gd name="connsiteX25" fmla="*/ 158750 w 266700"/>
              <a:gd name="connsiteY25" fmla="*/ 203200 h 266700"/>
              <a:gd name="connsiteX26" fmla="*/ 190500 w 266700"/>
              <a:gd name="connsiteY26" fmla="*/ 203200 h 266700"/>
              <a:gd name="connsiteX27" fmla="*/ 190500 w 266700"/>
              <a:gd name="connsiteY27" fmla="*/ 234950 h 266700"/>
              <a:gd name="connsiteX28" fmla="*/ 190602 w 266700"/>
              <a:gd name="connsiteY28" fmla="*/ 236093 h 266700"/>
              <a:gd name="connsiteX29" fmla="*/ 195707 w 266700"/>
              <a:gd name="connsiteY29" fmla="*/ 241198 h 266700"/>
              <a:gd name="connsiteX30" fmla="*/ 196850 w 266700"/>
              <a:gd name="connsiteY30" fmla="*/ 241300 h 266700"/>
              <a:gd name="connsiteX31" fmla="*/ 197993 w 266700"/>
              <a:gd name="connsiteY31" fmla="*/ 241198 h 266700"/>
              <a:gd name="connsiteX32" fmla="*/ 203098 w 266700"/>
              <a:gd name="connsiteY32" fmla="*/ 236093 h 266700"/>
              <a:gd name="connsiteX33" fmla="*/ 203200 w 266700"/>
              <a:gd name="connsiteY33" fmla="*/ 234950 h 266700"/>
              <a:gd name="connsiteX34" fmla="*/ 203200 w 266700"/>
              <a:gd name="connsiteY34" fmla="*/ 203200 h 266700"/>
              <a:gd name="connsiteX35" fmla="*/ 234950 w 266700"/>
              <a:gd name="connsiteY35" fmla="*/ 203200 h 266700"/>
              <a:gd name="connsiteX36" fmla="*/ 236093 w 266700"/>
              <a:gd name="connsiteY36" fmla="*/ 203098 h 266700"/>
              <a:gd name="connsiteX37" fmla="*/ 241198 w 266700"/>
              <a:gd name="connsiteY37" fmla="*/ 197993 h 266700"/>
              <a:gd name="connsiteX38" fmla="*/ 241300 w 266700"/>
              <a:gd name="connsiteY38" fmla="*/ 196850 h 266700"/>
              <a:gd name="connsiteX39" fmla="*/ 241198 w 266700"/>
              <a:gd name="connsiteY39" fmla="*/ 195707 h 266700"/>
              <a:gd name="connsiteX40" fmla="*/ 236093 w 266700"/>
              <a:gd name="connsiteY40" fmla="*/ 190602 h 266700"/>
              <a:gd name="connsiteX41" fmla="*/ 234950 w 266700"/>
              <a:gd name="connsiteY41" fmla="*/ 190500 h 266700"/>
              <a:gd name="connsiteX42" fmla="*/ 203200 w 266700"/>
              <a:gd name="connsiteY42" fmla="*/ 190500 h 266700"/>
              <a:gd name="connsiteX43" fmla="*/ 203200 w 266700"/>
              <a:gd name="connsiteY43" fmla="*/ 158775 h 266700"/>
              <a:gd name="connsiteX44" fmla="*/ 203098 w 266700"/>
              <a:gd name="connsiteY44" fmla="*/ 157632 h 266700"/>
              <a:gd name="connsiteX45" fmla="*/ 197993 w 266700"/>
              <a:gd name="connsiteY45" fmla="*/ 152527 h 266700"/>
              <a:gd name="connsiteX46" fmla="*/ 196850 w 266700"/>
              <a:gd name="connsiteY46" fmla="*/ 152425 h 266700"/>
              <a:gd name="connsiteX47" fmla="*/ 82550 w 266700"/>
              <a:gd name="connsiteY47" fmla="*/ 0 h 266700"/>
              <a:gd name="connsiteX48" fmla="*/ 139700 w 266700"/>
              <a:gd name="connsiteY48" fmla="*/ 57150 h 266700"/>
              <a:gd name="connsiteX49" fmla="*/ 82550 w 266700"/>
              <a:gd name="connsiteY49" fmla="*/ 114300 h 266700"/>
              <a:gd name="connsiteX50" fmla="*/ 25400 w 266700"/>
              <a:gd name="connsiteY50" fmla="*/ 57150 h 266700"/>
              <a:gd name="connsiteX51" fmla="*/ 82550 w 266700"/>
              <a:gd name="connsiteY51" fmla="*/ 0 h 266700"/>
              <a:gd name="connsiteX52" fmla="*/ 196850 w 266700"/>
              <a:gd name="connsiteY52" fmla="*/ 25400 h 266700"/>
              <a:gd name="connsiteX53" fmla="*/ 241300 w 266700"/>
              <a:gd name="connsiteY53" fmla="*/ 69850 h 266700"/>
              <a:gd name="connsiteX54" fmla="*/ 196850 w 266700"/>
              <a:gd name="connsiteY54" fmla="*/ 114300 h 266700"/>
              <a:gd name="connsiteX55" fmla="*/ 152400 w 266700"/>
              <a:gd name="connsiteY55" fmla="*/ 69850 h 266700"/>
              <a:gd name="connsiteX56" fmla="*/ 196850 w 266700"/>
              <a:gd name="connsiteY56" fmla="*/ 254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66700" h="266700">
                <a:moveTo>
                  <a:pt x="196850" y="127000"/>
                </a:moveTo>
                <a:cubicBezTo>
                  <a:pt x="235427" y="127000"/>
                  <a:pt x="266700" y="158273"/>
                  <a:pt x="266700" y="196850"/>
                </a:cubicBezTo>
                <a:cubicBezTo>
                  <a:pt x="266700" y="235427"/>
                  <a:pt x="235427" y="266700"/>
                  <a:pt x="196850" y="266700"/>
                </a:cubicBezTo>
                <a:cubicBezTo>
                  <a:pt x="158273" y="266700"/>
                  <a:pt x="127000" y="235427"/>
                  <a:pt x="127000" y="196850"/>
                </a:cubicBezTo>
                <a:cubicBezTo>
                  <a:pt x="127000" y="158273"/>
                  <a:pt x="158273" y="127000"/>
                  <a:pt x="196850" y="127000"/>
                </a:cubicBezTo>
                <a:close/>
                <a:moveTo>
                  <a:pt x="25400" y="139687"/>
                </a:moveTo>
                <a:lnTo>
                  <a:pt x="137287" y="139700"/>
                </a:lnTo>
                <a:cubicBezTo>
                  <a:pt x="122513" y="155054"/>
                  <a:pt x="114272" y="175542"/>
                  <a:pt x="114300" y="196850"/>
                </a:cubicBezTo>
                <a:cubicBezTo>
                  <a:pt x="114300" y="210655"/>
                  <a:pt x="117691" y="223672"/>
                  <a:pt x="123685" y="235115"/>
                </a:cubicBezTo>
                <a:cubicBezTo>
                  <a:pt x="110350" y="239560"/>
                  <a:pt x="95644" y="241300"/>
                  <a:pt x="82550" y="241300"/>
                </a:cubicBezTo>
                <a:cubicBezTo>
                  <a:pt x="47981" y="241300"/>
                  <a:pt x="2095" y="229159"/>
                  <a:pt x="64" y="187071"/>
                </a:cubicBezTo>
                <a:lnTo>
                  <a:pt x="0" y="184150"/>
                </a:lnTo>
                <a:lnTo>
                  <a:pt x="0" y="165087"/>
                </a:lnTo>
                <a:cubicBezTo>
                  <a:pt x="0" y="151059"/>
                  <a:pt x="11372" y="139687"/>
                  <a:pt x="25400" y="139687"/>
                </a:cubicBezTo>
                <a:close/>
                <a:moveTo>
                  <a:pt x="196850" y="152425"/>
                </a:moveTo>
                <a:lnTo>
                  <a:pt x="195707" y="152527"/>
                </a:lnTo>
                <a:cubicBezTo>
                  <a:pt x="193109" y="153002"/>
                  <a:pt x="191076" y="155035"/>
                  <a:pt x="190602" y="157632"/>
                </a:cubicBezTo>
                <a:lnTo>
                  <a:pt x="190500" y="158775"/>
                </a:lnTo>
                <a:lnTo>
                  <a:pt x="190500" y="190500"/>
                </a:lnTo>
                <a:lnTo>
                  <a:pt x="158750" y="190500"/>
                </a:lnTo>
                <a:lnTo>
                  <a:pt x="157607" y="190602"/>
                </a:lnTo>
                <a:cubicBezTo>
                  <a:pt x="155009" y="191076"/>
                  <a:pt x="152976" y="193109"/>
                  <a:pt x="152502" y="195707"/>
                </a:cubicBezTo>
                <a:lnTo>
                  <a:pt x="152400" y="196850"/>
                </a:lnTo>
                <a:lnTo>
                  <a:pt x="152502" y="197993"/>
                </a:lnTo>
                <a:cubicBezTo>
                  <a:pt x="152976" y="200591"/>
                  <a:pt x="155009" y="202624"/>
                  <a:pt x="157607" y="203098"/>
                </a:cubicBezTo>
                <a:lnTo>
                  <a:pt x="158750" y="203200"/>
                </a:lnTo>
                <a:lnTo>
                  <a:pt x="190500" y="203200"/>
                </a:lnTo>
                <a:lnTo>
                  <a:pt x="190500" y="234950"/>
                </a:lnTo>
                <a:lnTo>
                  <a:pt x="190602" y="236093"/>
                </a:lnTo>
                <a:cubicBezTo>
                  <a:pt x="191076" y="238691"/>
                  <a:pt x="193109" y="240724"/>
                  <a:pt x="195707" y="241198"/>
                </a:cubicBezTo>
                <a:lnTo>
                  <a:pt x="196850" y="241300"/>
                </a:lnTo>
                <a:lnTo>
                  <a:pt x="197993" y="241198"/>
                </a:lnTo>
                <a:cubicBezTo>
                  <a:pt x="200591" y="240724"/>
                  <a:pt x="202624" y="238691"/>
                  <a:pt x="203098" y="236093"/>
                </a:cubicBezTo>
                <a:lnTo>
                  <a:pt x="203200" y="234950"/>
                </a:lnTo>
                <a:lnTo>
                  <a:pt x="203200" y="203200"/>
                </a:lnTo>
                <a:lnTo>
                  <a:pt x="234950" y="203200"/>
                </a:lnTo>
                <a:lnTo>
                  <a:pt x="236093" y="203098"/>
                </a:lnTo>
                <a:cubicBezTo>
                  <a:pt x="238691" y="202624"/>
                  <a:pt x="240724" y="200591"/>
                  <a:pt x="241198" y="197993"/>
                </a:cubicBezTo>
                <a:lnTo>
                  <a:pt x="241300" y="196850"/>
                </a:lnTo>
                <a:lnTo>
                  <a:pt x="241198" y="195707"/>
                </a:lnTo>
                <a:cubicBezTo>
                  <a:pt x="240724" y="193109"/>
                  <a:pt x="238691" y="191076"/>
                  <a:pt x="236093" y="190602"/>
                </a:cubicBezTo>
                <a:lnTo>
                  <a:pt x="234950" y="190500"/>
                </a:lnTo>
                <a:lnTo>
                  <a:pt x="203200" y="190500"/>
                </a:lnTo>
                <a:lnTo>
                  <a:pt x="203200" y="158775"/>
                </a:lnTo>
                <a:lnTo>
                  <a:pt x="203098" y="157632"/>
                </a:lnTo>
                <a:cubicBezTo>
                  <a:pt x="202624" y="155035"/>
                  <a:pt x="200591" y="153002"/>
                  <a:pt x="197993" y="152527"/>
                </a:cubicBezTo>
                <a:lnTo>
                  <a:pt x="196850" y="152425"/>
                </a:lnTo>
                <a:close/>
                <a:moveTo>
                  <a:pt x="82550" y="0"/>
                </a:moveTo>
                <a:cubicBezTo>
                  <a:pt x="114113" y="0"/>
                  <a:pt x="139700" y="25587"/>
                  <a:pt x="139700" y="57150"/>
                </a:cubicBezTo>
                <a:cubicBezTo>
                  <a:pt x="139700" y="88713"/>
                  <a:pt x="114113" y="114300"/>
                  <a:pt x="82550" y="114300"/>
                </a:cubicBezTo>
                <a:cubicBezTo>
                  <a:pt x="50987" y="114300"/>
                  <a:pt x="25400" y="88713"/>
                  <a:pt x="25400" y="57150"/>
                </a:cubicBezTo>
                <a:cubicBezTo>
                  <a:pt x="25400" y="25587"/>
                  <a:pt x="50987" y="0"/>
                  <a:pt x="82550" y="0"/>
                </a:cubicBezTo>
                <a:close/>
                <a:moveTo>
                  <a:pt x="196850" y="25400"/>
                </a:moveTo>
                <a:cubicBezTo>
                  <a:pt x="221399" y="25400"/>
                  <a:pt x="241300" y="45301"/>
                  <a:pt x="241300" y="69850"/>
                </a:cubicBezTo>
                <a:cubicBezTo>
                  <a:pt x="241300" y="94399"/>
                  <a:pt x="221399" y="114300"/>
                  <a:pt x="196850" y="114300"/>
                </a:cubicBezTo>
                <a:cubicBezTo>
                  <a:pt x="172301" y="114300"/>
                  <a:pt x="152400" y="94399"/>
                  <a:pt x="152400" y="69850"/>
                </a:cubicBezTo>
                <a:cubicBezTo>
                  <a:pt x="152400" y="45301"/>
                  <a:pt x="172301" y="25400"/>
                  <a:pt x="196850" y="2540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latin typeface="Segoe UI Semibold"/>
              <a:cs typeface="Segoe UI" pitchFamily="34" charset="0"/>
            </a:endParaRPr>
          </a:p>
        </p:txBody>
      </p:sp>
    </p:spTree>
    <p:extLst>
      <p:ext uri="{BB962C8B-B14F-4D97-AF65-F5344CB8AC3E}">
        <p14:creationId xmlns:p14="http://schemas.microsoft.com/office/powerpoint/2010/main" val="347865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96B9C-C382-196F-93E5-EDEE38F548D9}"/>
            </a:ext>
          </a:extLst>
        </p:cNvPr>
        <p:cNvGrpSpPr/>
        <p:nvPr/>
      </p:nvGrpSpPr>
      <p:grpSpPr>
        <a:xfrm>
          <a:off x="0" y="0"/>
          <a:ext cx="0" cy="0"/>
          <a:chOff x="0" y="0"/>
          <a:chExt cx="0" cy="0"/>
        </a:xfrm>
      </p:grpSpPr>
      <p:pic>
        <p:nvPicPr>
          <p:cNvPr id="36" name="Picture 35">
            <a:extLst>
              <a:ext uri="{FF2B5EF4-FFF2-40B4-BE49-F238E27FC236}">
                <a16:creationId xmlns:a16="http://schemas.microsoft.com/office/drawing/2014/main" id="{F3A9AEFE-8C7E-5517-1E86-B99A174133D8}"/>
              </a:ext>
            </a:extLst>
          </p:cNvPr>
          <p:cNvPicPr>
            <a:picLocks/>
          </p:cNvPicPr>
          <p:nvPr/>
        </p:nvPicPr>
        <p:blipFill rotWithShape="1">
          <a:blip r:embed="rId3">
            <a:alphaModFix amt="13000"/>
          </a:blip>
          <a:srcRect l="67949" t="25" r="17641" b="25"/>
          <a:stretch/>
        </p:blipFill>
        <p:spPr>
          <a:xfrm rot="5400000">
            <a:off x="5551548" y="-5551546"/>
            <a:ext cx="1085858" cy="12188952"/>
          </a:xfrm>
          <a:prstGeom prst="rect">
            <a:avLst/>
          </a:prstGeom>
        </p:spPr>
      </p:pic>
      <p:sp>
        <p:nvSpPr>
          <p:cNvPr id="56" name="Text Placeholder 55">
            <a:extLst>
              <a:ext uri="{FF2B5EF4-FFF2-40B4-BE49-F238E27FC236}">
                <a16:creationId xmlns:a16="http://schemas.microsoft.com/office/drawing/2014/main" id="{DB9E9FBE-F862-730B-4E7F-FC6223E5CC2A}"/>
              </a:ext>
            </a:extLst>
          </p:cNvPr>
          <p:cNvSpPr>
            <a:spLocks noGrp="1"/>
          </p:cNvSpPr>
          <p:nvPr>
            <p:ph type="body" sz="quarter" idx="13"/>
          </p:nvPr>
        </p:nvSpPr>
        <p:spPr>
          <a:xfrm>
            <a:off x="723900" y="706438"/>
            <a:ext cx="10744200" cy="576262"/>
          </a:xfrm>
        </p:spPr>
        <p:txBody>
          <a:bodyPr/>
          <a:lstStyle/>
          <a:p>
            <a:pPr defTabSz="932742" fontAlgn="base">
              <a:spcBef>
                <a:spcPct val="0"/>
              </a:spcBef>
              <a:spcAft>
                <a:spcPct val="0"/>
              </a:spcAft>
              <a:tabLst>
                <a:tab pos="920840" algn="l"/>
              </a:tabLst>
              <a:defRPr/>
            </a:pPr>
            <a:r>
              <a:rPr lang="en-US">
                <a:ln w="3175">
                  <a:noFill/>
                </a:ln>
                <a:gradFill>
                  <a:gsLst>
                    <a:gs pos="0">
                      <a:srgbClr val="0D7BFF"/>
                    </a:gs>
                    <a:gs pos="100000">
                      <a:srgbClr val="CA4961">
                        <a:lumMod val="88000"/>
                        <a:lumOff val="12000"/>
                      </a:srgbClr>
                    </a:gs>
                  </a:gsLst>
                  <a:lin ang="0" scaled="1"/>
                </a:gradFill>
                <a:cs typeface="Segoe UI" pitchFamily="34" charset="0"/>
              </a:rPr>
              <a:t>Analytics enhancements in 2025 release wave 1</a:t>
            </a:r>
          </a:p>
        </p:txBody>
      </p:sp>
      <p:sp>
        <p:nvSpPr>
          <p:cNvPr id="18" name="Rectangle: Rounded Corners 17">
            <a:extLst>
              <a:ext uri="{FF2B5EF4-FFF2-40B4-BE49-F238E27FC236}">
                <a16:creationId xmlns:a16="http://schemas.microsoft.com/office/drawing/2014/main" id="{4216D0C6-341C-4EF6-72F4-389EE5B178F0}"/>
              </a:ext>
            </a:extLst>
          </p:cNvPr>
          <p:cNvSpPr>
            <a:spLocks/>
          </p:cNvSpPr>
          <p:nvPr/>
        </p:nvSpPr>
        <p:spPr>
          <a:xfrm>
            <a:off x="723900" y="1733550"/>
            <a:ext cx="10744200" cy="4284117"/>
          </a:xfrm>
          <a:prstGeom prst="roundRect">
            <a:avLst>
              <a:gd name="adj" fmla="val 3347"/>
            </a:avLst>
          </a:prstGeom>
          <a:solidFill>
            <a:schemeClr val="tx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Text Placeholder 6">
            <a:extLst>
              <a:ext uri="{FF2B5EF4-FFF2-40B4-BE49-F238E27FC236}">
                <a16:creationId xmlns:a16="http://schemas.microsoft.com/office/drawing/2014/main" id="{103C4D13-74A8-A7E0-8BA6-6F762452BF0F}"/>
              </a:ext>
            </a:extLst>
          </p:cNvPr>
          <p:cNvSpPr txBox="1">
            <a:spLocks/>
          </p:cNvSpPr>
          <p:nvPr/>
        </p:nvSpPr>
        <p:spPr>
          <a:xfrm>
            <a:off x="1699260" y="2054045"/>
            <a:ext cx="3765700" cy="307777"/>
          </a:xfrm>
          <a:prstGeom prst="rect">
            <a:avLst/>
          </a:prstGeom>
        </p:spPr>
        <p:txBody>
          <a:bodyPr wrap="square" lIns="0" tIns="0" rIns="0" bIns="0">
            <a:spAutoFit/>
          </a:bodyPr>
          <a:lstStyle>
            <a:defPPr>
              <a:defRPr lang="en-DK"/>
            </a:defPPr>
            <a:lvl1pPr marL="228600" indent="-228600">
              <a:lnSpc>
                <a:spcPct val="90000"/>
              </a:lnSpc>
              <a:spcBef>
                <a:spcPts val="1000"/>
              </a:spcBef>
              <a:buFont typeface="Arial" panose="020B0604020202020204" pitchFamily="34" charset="0"/>
              <a:buChar char="•"/>
              <a:defRPr sz="1500"/>
            </a:lvl1pPr>
            <a:lvl2pPr marL="685800" indent="-228600">
              <a:lnSpc>
                <a:spcPct val="90000"/>
              </a:lnSpc>
              <a:spcBef>
                <a:spcPts val="500"/>
              </a:spcBef>
              <a:buFont typeface="Arial" panose="020B0604020202020204" pitchFamily="34" charset="0"/>
              <a:buChar char="•"/>
              <a:defRPr sz="2400"/>
            </a:lvl2pPr>
            <a:lvl3pPr marL="0" marR="4445" lvl="2" indent="0" defTabSz="932742" fontAlgn="auto">
              <a:lnSpc>
                <a:spcPct val="100000"/>
              </a:lnSpc>
              <a:spcBef>
                <a:spcPct val="0"/>
              </a:spcBef>
              <a:spcAft>
                <a:spcPts val="0"/>
              </a:spcAft>
              <a:buClrTx/>
              <a:buSzPts val="1000"/>
              <a:buFont typeface="Arial" panose="020B0604020202020204" pitchFamily="34" charset="0"/>
              <a:buNone/>
              <a:tabLst>
                <a:tab pos="1210329" algn="l"/>
              </a:tabLst>
              <a:defRPr kumimoji="0" sz="2000" b="0" i="0" u="none" strike="noStrike" cap="none" normalizeH="0" baseline="0">
                <a:ln w="3175">
                  <a:noFill/>
                </a:ln>
                <a:effectLst/>
                <a:uLnTx/>
                <a:uFillTx/>
                <a:latin typeface="+mj-lt"/>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4445" lvl="2" indent="0" algn="l" defTabSz="932742" rtl="0" eaLnBrk="1" fontAlgn="auto" latinLnBrk="0" hangingPunct="1">
              <a:lnSpc>
                <a:spcPct val="100000"/>
              </a:lnSpc>
              <a:spcBef>
                <a:spcPct val="0"/>
              </a:spcBef>
              <a:spcAft>
                <a:spcPts val="0"/>
              </a:spcAft>
              <a:buClrTx/>
              <a:buSzPts val="1000"/>
              <a:buFont typeface="Arial" panose="020B0604020202020204" pitchFamily="34" charset="0"/>
              <a:buNone/>
              <a:tabLst>
                <a:tab pos="1210329" algn="l"/>
              </a:tabLst>
              <a:defRPr/>
            </a:pPr>
            <a:r>
              <a:rPr kumimoji="0" lang="en-DK" sz="2000" b="0" i="0" u="none" strike="noStrike" kern="1200" cap="none" spc="0" normalizeH="0" baseline="0" noProof="0">
                <a:ln w="3175">
                  <a:noFill/>
                </a:ln>
                <a:solidFill>
                  <a:srgbClr val="FFFFFF"/>
                </a:solidFill>
                <a:effectLst/>
                <a:uLnTx/>
                <a:uFillTx/>
                <a:latin typeface="Segoe UI Semibold"/>
                <a:ea typeface="+mn-ea"/>
                <a:cs typeface="Segoe UI Semibold" panose="020B0502040204020203" pitchFamily="34" charset="0"/>
              </a:rPr>
              <a:t>79 new or enhanced reports</a:t>
            </a:r>
            <a:endParaRPr kumimoji="0" lang="en-US" sz="2000" b="0" i="0" u="none" strike="noStrike" kern="1200" cap="none" spc="0" normalizeH="0" baseline="0" noProof="0">
              <a:ln w="3175">
                <a:noFill/>
              </a:ln>
              <a:solidFill>
                <a:srgbClr val="FFFFFF"/>
              </a:solidFill>
              <a:effectLst/>
              <a:uLnTx/>
              <a:uFillTx/>
              <a:latin typeface="Segoe UI Semibold"/>
              <a:ea typeface="+mn-ea"/>
              <a:cs typeface="Segoe UI Semibold" panose="020B0502040204020203" pitchFamily="34" charset="0"/>
            </a:endParaRPr>
          </a:p>
        </p:txBody>
      </p:sp>
      <p:sp>
        <p:nvSpPr>
          <p:cNvPr id="10" name="Text Placeholder 32">
            <a:extLst>
              <a:ext uri="{FF2B5EF4-FFF2-40B4-BE49-F238E27FC236}">
                <a16:creationId xmlns:a16="http://schemas.microsoft.com/office/drawing/2014/main" id="{C9361304-A89B-0BA9-72B5-5E89B9478608}"/>
              </a:ext>
            </a:extLst>
          </p:cNvPr>
          <p:cNvSpPr txBox="1">
            <a:spLocks/>
          </p:cNvSpPr>
          <p:nvPr/>
        </p:nvSpPr>
        <p:spPr>
          <a:xfrm>
            <a:off x="4664729" y="4108620"/>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Segoe UI"/>
                <a:ea typeface="+mn-ea"/>
                <a:cs typeface="+mn-cs"/>
              </a:rPr>
              <a:t>Power BI reports: </a:t>
            </a:r>
            <a:r>
              <a:rPr kumimoji="0" lang="en-DK" sz="1000" b="0" i="0" u="none" strike="noStrike" kern="1200" cap="none" spc="0" normalizeH="0" baseline="0" noProof="0">
                <a:ln>
                  <a:noFill/>
                </a:ln>
                <a:solidFill>
                  <a:srgbClr val="FFFFFF"/>
                </a:solidFill>
                <a:effectLst/>
                <a:uLnTx/>
                <a:uFillTx/>
                <a:latin typeface="Segoe UI"/>
                <a:ea typeface="+mn-ea"/>
                <a:cs typeface="+mn-cs"/>
              </a:rPr>
              <a:t>9</a:t>
            </a:r>
            <a:r>
              <a:rPr kumimoji="0" lang="en-GB" sz="1000" b="0" i="0" u="none" strike="noStrike" kern="1200" cap="none" spc="0" normalizeH="0" baseline="0" noProof="0">
                <a:ln>
                  <a:noFill/>
                </a:ln>
                <a:solidFill>
                  <a:srgbClr val="FFFFFF"/>
                </a:solidFill>
                <a:effectLst/>
                <a:uLnTx/>
                <a:uFillTx/>
                <a:latin typeface="Segoe UI"/>
                <a:ea typeface="+mn-ea"/>
                <a:cs typeface="+mn-cs"/>
              </a:rPr>
              <a:t> new</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Segoe UI"/>
                <a:ea typeface="+mn-ea"/>
                <a:cs typeface="+mn-cs"/>
              </a:rPr>
              <a:t>Excel reports: </a:t>
            </a:r>
            <a:r>
              <a:rPr kumimoji="0" lang="en-DK" sz="1000" b="0" i="0" u="none" strike="noStrike" kern="1200" cap="none" spc="0" normalizeH="0" baseline="0" noProof="0">
                <a:ln>
                  <a:noFill/>
                </a:ln>
                <a:solidFill>
                  <a:srgbClr val="FFFFFF"/>
                </a:solidFill>
                <a:effectLst/>
                <a:uLnTx/>
                <a:uFillTx/>
                <a:latin typeface="Segoe UI"/>
                <a:ea typeface="+mn-ea"/>
                <a:cs typeface="+mn-cs"/>
              </a:rPr>
              <a:t>3</a:t>
            </a:r>
            <a:endParaRPr kumimoji="0" lang="en-GB" sz="10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Text Placeholder 32">
            <a:extLst>
              <a:ext uri="{FF2B5EF4-FFF2-40B4-BE49-F238E27FC236}">
                <a16:creationId xmlns:a16="http://schemas.microsoft.com/office/drawing/2014/main" id="{435C0A74-3CC9-742B-C70A-C3BB6A1AC2AE}"/>
              </a:ext>
            </a:extLst>
          </p:cNvPr>
          <p:cNvSpPr txBox="1">
            <a:spLocks/>
          </p:cNvSpPr>
          <p:nvPr/>
        </p:nvSpPr>
        <p:spPr>
          <a:xfrm>
            <a:off x="4664729" y="3096084"/>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Power BI reports: 8 new, 6 updated</a:t>
            </a:r>
            <a:endParaRPr kumimoji="0" lang="en-GB" sz="1000" b="0" i="0" u="none" strike="noStrike" kern="1200" cap="none" spc="0" normalizeH="0" baseline="0" noProof="0">
              <a:ln>
                <a:noFill/>
              </a:ln>
              <a:solidFill>
                <a:srgbClr val="FFFFFF"/>
              </a:solidFill>
              <a:effectLst/>
              <a:uLnTx/>
              <a:uFillTx/>
              <a:latin typeface="Segoe UI"/>
              <a:ea typeface="+mn-ea"/>
              <a:cs typeface="+mn-cs"/>
            </a:endParaRP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8</a:t>
            </a:r>
            <a:endParaRPr kumimoji="0" lang="en-GB" sz="1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D470DD71-3128-C16C-B0FC-E0100D4E5D73}"/>
              </a:ext>
            </a:extLst>
          </p:cNvPr>
          <p:cNvCxnSpPr>
            <a:cxnSpLocks/>
          </p:cNvCxnSpPr>
          <p:nvPr/>
        </p:nvCxnSpPr>
        <p:spPr>
          <a:xfrm>
            <a:off x="4390409" y="2712099"/>
            <a:ext cx="0" cy="3108960"/>
          </a:xfrm>
          <a:prstGeom prst="line">
            <a:avLst/>
          </a:prstGeom>
          <a:noFill/>
          <a:ln w="9525" cap="rnd" cmpd="sng" algn="ctr">
            <a:gradFill flip="none" rotWithShape="1">
              <a:gsLst>
                <a:gs pos="0">
                  <a:srgbClr val="6C8999">
                    <a:alpha val="0"/>
                  </a:srgbClr>
                </a:gs>
                <a:gs pos="75000">
                  <a:srgbClr val="092F45"/>
                </a:gs>
                <a:gs pos="25000">
                  <a:srgbClr val="092F45"/>
                </a:gs>
                <a:gs pos="50000">
                  <a:srgbClr val="092F45"/>
                </a:gs>
                <a:gs pos="100000">
                  <a:srgbClr val="6C8999">
                    <a:alpha val="0"/>
                  </a:srgbClr>
                </a:gs>
              </a:gsLst>
              <a:lin ang="5400000" scaled="1"/>
              <a:tileRect/>
            </a:gradFill>
            <a:prstDash val="solid"/>
            <a:headEnd type="none" w="med" len="med"/>
            <a:tailEnd type="none" w="med" len="med"/>
          </a:ln>
          <a:effectLst>
            <a:outerShdw blurRad="99903" dist="38100" dir="2700000" algn="tl" rotWithShape="0">
              <a:prstClr val="black">
                <a:alpha val="40000"/>
              </a:prstClr>
            </a:outerShdw>
          </a:effectLst>
        </p:spPr>
      </p:cxnSp>
      <p:sp>
        <p:nvSpPr>
          <p:cNvPr id="26" name="Text Placeholder 32">
            <a:extLst>
              <a:ext uri="{FF2B5EF4-FFF2-40B4-BE49-F238E27FC236}">
                <a16:creationId xmlns:a16="http://schemas.microsoft.com/office/drawing/2014/main" id="{5788C53E-61B5-8C8B-A99B-A0F753910B72}"/>
              </a:ext>
            </a:extLst>
          </p:cNvPr>
          <p:cNvSpPr txBox="1">
            <a:spLocks/>
          </p:cNvSpPr>
          <p:nvPr/>
        </p:nvSpPr>
        <p:spPr>
          <a:xfrm>
            <a:off x="998220" y="3096084"/>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Financial Reporting: 10+ features</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7 reports</a:t>
            </a:r>
          </a:p>
        </p:txBody>
      </p:sp>
      <p:sp>
        <p:nvSpPr>
          <p:cNvPr id="59" name="Text Placeholder 32">
            <a:extLst>
              <a:ext uri="{FF2B5EF4-FFF2-40B4-BE49-F238E27FC236}">
                <a16:creationId xmlns:a16="http://schemas.microsoft.com/office/drawing/2014/main" id="{C675773E-4F31-9B9C-FC32-75FAC7329E5E}"/>
              </a:ext>
            </a:extLst>
          </p:cNvPr>
          <p:cNvSpPr txBox="1">
            <a:spLocks/>
          </p:cNvSpPr>
          <p:nvPr/>
        </p:nvSpPr>
        <p:spPr>
          <a:xfrm>
            <a:off x="998220" y="4965398"/>
            <a:ext cx="2351888" cy="512961"/>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Power BI reports: 7 new, 5 updated</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1</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1</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 Placeholder 32">
            <a:extLst>
              <a:ext uri="{FF2B5EF4-FFF2-40B4-BE49-F238E27FC236}">
                <a16:creationId xmlns:a16="http://schemas.microsoft.com/office/drawing/2014/main" id="{834C8EE8-085C-BD80-9716-3039B5A7FE18}"/>
              </a:ext>
            </a:extLst>
          </p:cNvPr>
          <p:cNvSpPr txBox="1">
            <a:spLocks/>
          </p:cNvSpPr>
          <p:nvPr/>
        </p:nvSpPr>
        <p:spPr>
          <a:xfrm>
            <a:off x="998220" y="4108620"/>
            <a:ext cx="2351888" cy="153888"/>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Segoe UI"/>
                <a:ea typeface="+mn-ea"/>
                <a:cs typeface="+mn-cs"/>
              </a:rPr>
              <a:t>Power BI reports: </a:t>
            </a:r>
            <a:r>
              <a:rPr kumimoji="0" lang="en-DK" sz="1000" b="0" i="0" u="none" strike="noStrike" kern="1200" cap="none" spc="0" normalizeH="0" baseline="0" noProof="0">
                <a:ln>
                  <a:noFill/>
                </a:ln>
                <a:solidFill>
                  <a:srgbClr val="FFFFFF"/>
                </a:solidFill>
                <a:effectLst/>
                <a:uLnTx/>
                <a:uFillTx/>
                <a:latin typeface="Segoe UI"/>
                <a:ea typeface="+mn-ea"/>
                <a:cs typeface="+mn-cs"/>
              </a:rPr>
              <a:t>14</a:t>
            </a:r>
            <a:r>
              <a:rPr kumimoji="0" lang="en-GB" sz="1000" b="0" i="0" u="none" strike="noStrike" kern="1200" cap="none" spc="0" normalizeH="0" baseline="0" noProof="0">
                <a:ln>
                  <a:noFill/>
                </a:ln>
                <a:solidFill>
                  <a:srgbClr val="FFFFFF"/>
                </a:solidFill>
                <a:effectLst/>
                <a:uLnTx/>
                <a:uFillTx/>
                <a:latin typeface="Segoe UI"/>
                <a:ea typeface="+mn-ea"/>
                <a:cs typeface="+mn-cs"/>
              </a:rPr>
              <a:t> new</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Text Placeholder 32">
            <a:extLst>
              <a:ext uri="{FF2B5EF4-FFF2-40B4-BE49-F238E27FC236}">
                <a16:creationId xmlns:a16="http://schemas.microsoft.com/office/drawing/2014/main" id="{8B87B753-9FAE-5888-4478-84C5E8C40998}"/>
              </a:ext>
            </a:extLst>
          </p:cNvPr>
          <p:cNvSpPr txBox="1">
            <a:spLocks/>
          </p:cNvSpPr>
          <p:nvPr/>
        </p:nvSpPr>
        <p:spPr>
          <a:xfrm>
            <a:off x="8331238" y="4827285"/>
            <a:ext cx="2351888" cy="153888"/>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1</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 Placeholder 32">
            <a:extLst>
              <a:ext uri="{FF2B5EF4-FFF2-40B4-BE49-F238E27FC236}">
                <a16:creationId xmlns:a16="http://schemas.microsoft.com/office/drawing/2014/main" id="{40035CA6-814B-36F2-BD88-CF7069836528}"/>
              </a:ext>
            </a:extLst>
          </p:cNvPr>
          <p:cNvSpPr txBox="1">
            <a:spLocks/>
          </p:cNvSpPr>
          <p:nvPr/>
        </p:nvSpPr>
        <p:spPr>
          <a:xfrm>
            <a:off x="8331238" y="5580345"/>
            <a:ext cx="2351888" cy="153888"/>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2</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 Placeholder 32">
            <a:extLst>
              <a:ext uri="{FF2B5EF4-FFF2-40B4-BE49-F238E27FC236}">
                <a16:creationId xmlns:a16="http://schemas.microsoft.com/office/drawing/2014/main" id="{28524A87-0A6F-0E68-9D62-A13F0CB02153}"/>
              </a:ext>
            </a:extLst>
          </p:cNvPr>
          <p:cNvSpPr txBox="1">
            <a:spLocks/>
          </p:cNvSpPr>
          <p:nvPr/>
        </p:nvSpPr>
        <p:spPr>
          <a:xfrm>
            <a:off x="8331238" y="3096084"/>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1</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2</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Text Placeholder 32">
            <a:extLst>
              <a:ext uri="{FF2B5EF4-FFF2-40B4-BE49-F238E27FC236}">
                <a16:creationId xmlns:a16="http://schemas.microsoft.com/office/drawing/2014/main" id="{9CDE3805-D633-686A-F546-537968D5A4EF}"/>
              </a:ext>
            </a:extLst>
          </p:cNvPr>
          <p:cNvSpPr txBox="1">
            <a:spLocks/>
          </p:cNvSpPr>
          <p:nvPr/>
        </p:nvSpPr>
        <p:spPr>
          <a:xfrm>
            <a:off x="8331238" y="3978646"/>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3</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y: 1</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4" name="Straight Connector 13">
            <a:extLst>
              <a:ext uri="{FF2B5EF4-FFF2-40B4-BE49-F238E27FC236}">
                <a16:creationId xmlns:a16="http://schemas.microsoft.com/office/drawing/2014/main" id="{E170E1AD-08AC-C82E-0970-D7E6CEDE445E}"/>
              </a:ext>
            </a:extLst>
          </p:cNvPr>
          <p:cNvCxnSpPr>
            <a:cxnSpLocks/>
          </p:cNvCxnSpPr>
          <p:nvPr/>
        </p:nvCxnSpPr>
        <p:spPr>
          <a:xfrm>
            <a:off x="8056918" y="2712099"/>
            <a:ext cx="0" cy="3108960"/>
          </a:xfrm>
          <a:prstGeom prst="line">
            <a:avLst/>
          </a:prstGeom>
          <a:noFill/>
          <a:ln w="9525" cap="rnd" cmpd="sng" algn="ctr">
            <a:gradFill flip="none" rotWithShape="1">
              <a:gsLst>
                <a:gs pos="0">
                  <a:srgbClr val="6C8999">
                    <a:alpha val="0"/>
                  </a:srgbClr>
                </a:gs>
                <a:gs pos="75000">
                  <a:srgbClr val="092F45"/>
                </a:gs>
                <a:gs pos="25000">
                  <a:srgbClr val="092F45"/>
                </a:gs>
                <a:gs pos="50000">
                  <a:srgbClr val="092F45"/>
                </a:gs>
                <a:gs pos="100000">
                  <a:srgbClr val="6C8999">
                    <a:alpha val="0"/>
                  </a:srgbClr>
                </a:gs>
              </a:gsLst>
              <a:lin ang="5400000" scaled="1"/>
              <a:tileRect/>
            </a:gradFill>
            <a:prstDash val="solid"/>
            <a:headEnd type="none" w="med" len="med"/>
            <a:tailEnd type="none" w="med" len="med"/>
          </a:ln>
          <a:effectLst>
            <a:outerShdw blurRad="99903" dist="38100" dir="2700000" algn="tl" rotWithShape="0">
              <a:prstClr val="black">
                <a:alpha val="40000"/>
              </a:prstClr>
            </a:outerShdw>
          </a:effectLst>
        </p:spPr>
      </p:cxnSp>
      <p:grpSp>
        <p:nvGrpSpPr>
          <p:cNvPr id="79" name="Group 78">
            <a:extLst>
              <a:ext uri="{FF2B5EF4-FFF2-40B4-BE49-F238E27FC236}">
                <a16:creationId xmlns:a16="http://schemas.microsoft.com/office/drawing/2014/main" id="{F2F898A3-78DB-3D17-23C3-E49460C1EBBB}"/>
              </a:ext>
            </a:extLst>
          </p:cNvPr>
          <p:cNvGrpSpPr/>
          <p:nvPr/>
        </p:nvGrpSpPr>
        <p:grpSpPr>
          <a:xfrm>
            <a:off x="903046" y="1897457"/>
            <a:ext cx="620954" cy="620952"/>
            <a:chOff x="903046" y="1897457"/>
            <a:chExt cx="620954" cy="620952"/>
          </a:xfrm>
        </p:grpSpPr>
        <p:sp>
          <p:nvSpPr>
            <p:cNvPr id="39" name="Oval 38">
              <a:extLst>
                <a:ext uri="{FF2B5EF4-FFF2-40B4-BE49-F238E27FC236}">
                  <a16:creationId xmlns:a16="http://schemas.microsoft.com/office/drawing/2014/main" id="{C639B82B-077B-572C-7DC6-85F96C3E809E}"/>
                </a:ext>
              </a:extLst>
            </p:cNvPr>
            <p:cNvSpPr>
              <a:spLocks/>
            </p:cNvSpPr>
            <p:nvPr/>
          </p:nvSpPr>
          <p:spPr>
            <a:xfrm>
              <a:off x="903046" y="1897457"/>
              <a:ext cx="620954" cy="620952"/>
            </a:xfrm>
            <a:prstGeom prst="ellipse">
              <a:avLst/>
            </a:prstGeom>
            <a:solidFill>
              <a:srgbClr val="092F45"/>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tIns="2743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5AC6">
                        <a:lumMod val="88000"/>
                        <a:lumOff val="12000"/>
                      </a:srgbClr>
                    </a:gs>
                    <a:gs pos="100000">
                      <a:srgbClr val="CA4961">
                        <a:lumMod val="88000"/>
                        <a:lumOff val="12000"/>
                      </a:srgbClr>
                    </a:gs>
                  </a:gsLst>
                  <a:lin ang="2700000" scaled="0"/>
                </a:gradFill>
                <a:effectLst/>
                <a:uLnTx/>
                <a:uFillTx/>
                <a:latin typeface="Segoe UI Semibold"/>
                <a:ea typeface="+mn-ea"/>
                <a:cs typeface="+mn-cs"/>
              </a:endParaRPr>
            </a:p>
          </p:txBody>
        </p:sp>
        <p:sp>
          <p:nvSpPr>
            <p:cNvPr id="78" name="Graphic 33" descr="Icon of a notepad with a pen">
              <a:extLst>
                <a:ext uri="{FF2B5EF4-FFF2-40B4-BE49-F238E27FC236}">
                  <a16:creationId xmlns:a16="http://schemas.microsoft.com/office/drawing/2014/main" id="{FDC394C7-973A-87FC-A291-7C100C4324FF}"/>
                </a:ext>
              </a:extLst>
            </p:cNvPr>
            <p:cNvSpPr/>
            <p:nvPr/>
          </p:nvSpPr>
          <p:spPr>
            <a:xfrm>
              <a:off x="1064971" y="2036733"/>
              <a:ext cx="297104" cy="342400"/>
            </a:xfrm>
            <a:custGeom>
              <a:avLst/>
              <a:gdLst>
                <a:gd name="connsiteX0" fmla="*/ 65747 w 328770"/>
                <a:gd name="connsiteY0" fmla="*/ 120535 h 372600"/>
                <a:gd name="connsiteX1" fmla="*/ 76704 w 328770"/>
                <a:gd name="connsiteY1" fmla="*/ 109577 h 372600"/>
                <a:gd name="connsiteX2" fmla="*/ 186282 w 328770"/>
                <a:gd name="connsiteY2" fmla="*/ 109577 h 372600"/>
                <a:gd name="connsiteX3" fmla="*/ 197240 w 328770"/>
                <a:gd name="connsiteY3" fmla="*/ 120535 h 372600"/>
                <a:gd name="connsiteX4" fmla="*/ 186282 w 328770"/>
                <a:gd name="connsiteY4" fmla="*/ 131492 h 372600"/>
                <a:gd name="connsiteX5" fmla="*/ 76704 w 328770"/>
                <a:gd name="connsiteY5" fmla="*/ 131492 h 372600"/>
                <a:gd name="connsiteX6" fmla="*/ 65747 w 328770"/>
                <a:gd name="connsiteY6" fmla="*/ 120535 h 372600"/>
                <a:gd name="connsiteX7" fmla="*/ 76704 w 328770"/>
                <a:gd name="connsiteY7" fmla="*/ 175323 h 372600"/>
                <a:gd name="connsiteX8" fmla="*/ 65747 w 328770"/>
                <a:gd name="connsiteY8" fmla="*/ 186281 h 372600"/>
                <a:gd name="connsiteX9" fmla="*/ 76704 w 328770"/>
                <a:gd name="connsiteY9" fmla="*/ 197239 h 372600"/>
                <a:gd name="connsiteX10" fmla="*/ 186282 w 328770"/>
                <a:gd name="connsiteY10" fmla="*/ 197239 h 372600"/>
                <a:gd name="connsiteX11" fmla="*/ 197240 w 328770"/>
                <a:gd name="connsiteY11" fmla="*/ 186281 h 372600"/>
                <a:gd name="connsiteX12" fmla="*/ 186282 w 328770"/>
                <a:gd name="connsiteY12" fmla="*/ 175323 h 372600"/>
                <a:gd name="connsiteX13" fmla="*/ 76704 w 328770"/>
                <a:gd name="connsiteY13" fmla="*/ 175323 h 372600"/>
                <a:gd name="connsiteX14" fmla="*/ 65747 w 328770"/>
                <a:gd name="connsiteY14" fmla="*/ 252027 h 372600"/>
                <a:gd name="connsiteX15" fmla="*/ 76704 w 328770"/>
                <a:gd name="connsiteY15" fmla="*/ 241069 h 372600"/>
                <a:gd name="connsiteX16" fmla="*/ 120535 w 328770"/>
                <a:gd name="connsiteY16" fmla="*/ 241069 h 372600"/>
                <a:gd name="connsiteX17" fmla="*/ 131493 w 328770"/>
                <a:gd name="connsiteY17" fmla="*/ 252027 h 372600"/>
                <a:gd name="connsiteX18" fmla="*/ 120535 w 328770"/>
                <a:gd name="connsiteY18" fmla="*/ 262985 h 372600"/>
                <a:gd name="connsiteX19" fmla="*/ 76704 w 328770"/>
                <a:gd name="connsiteY19" fmla="*/ 262985 h 372600"/>
                <a:gd name="connsiteX20" fmla="*/ 65747 w 328770"/>
                <a:gd name="connsiteY20" fmla="*/ 252027 h 372600"/>
                <a:gd name="connsiteX21" fmla="*/ 43831 w 328770"/>
                <a:gd name="connsiteY21" fmla="*/ 10958 h 372600"/>
                <a:gd name="connsiteX22" fmla="*/ 54789 w 328770"/>
                <a:gd name="connsiteY22" fmla="*/ 0 h 372600"/>
                <a:gd name="connsiteX23" fmla="*/ 65747 w 328770"/>
                <a:gd name="connsiteY23" fmla="*/ 10958 h 372600"/>
                <a:gd name="connsiteX24" fmla="*/ 65747 w 328770"/>
                <a:gd name="connsiteY24" fmla="*/ 21915 h 372600"/>
                <a:gd name="connsiteX25" fmla="*/ 120535 w 328770"/>
                <a:gd name="connsiteY25" fmla="*/ 21915 h 372600"/>
                <a:gd name="connsiteX26" fmla="*/ 120535 w 328770"/>
                <a:gd name="connsiteY26" fmla="*/ 10958 h 372600"/>
                <a:gd name="connsiteX27" fmla="*/ 131493 w 328770"/>
                <a:gd name="connsiteY27" fmla="*/ 0 h 372600"/>
                <a:gd name="connsiteX28" fmla="*/ 142451 w 328770"/>
                <a:gd name="connsiteY28" fmla="*/ 10958 h 372600"/>
                <a:gd name="connsiteX29" fmla="*/ 142451 w 328770"/>
                <a:gd name="connsiteY29" fmla="*/ 21915 h 372600"/>
                <a:gd name="connsiteX30" fmla="*/ 197240 w 328770"/>
                <a:gd name="connsiteY30" fmla="*/ 21915 h 372600"/>
                <a:gd name="connsiteX31" fmla="*/ 197240 w 328770"/>
                <a:gd name="connsiteY31" fmla="*/ 10958 h 372600"/>
                <a:gd name="connsiteX32" fmla="*/ 208197 w 328770"/>
                <a:gd name="connsiteY32" fmla="*/ 0 h 372600"/>
                <a:gd name="connsiteX33" fmla="*/ 219155 w 328770"/>
                <a:gd name="connsiteY33" fmla="*/ 10958 h 372600"/>
                <a:gd name="connsiteX34" fmla="*/ 219155 w 328770"/>
                <a:gd name="connsiteY34" fmla="*/ 21915 h 372600"/>
                <a:gd name="connsiteX35" fmla="*/ 230113 w 328770"/>
                <a:gd name="connsiteY35" fmla="*/ 21915 h 372600"/>
                <a:gd name="connsiteX36" fmla="*/ 262986 w 328770"/>
                <a:gd name="connsiteY36" fmla="*/ 54789 h 372600"/>
                <a:gd name="connsiteX37" fmla="*/ 262986 w 328770"/>
                <a:gd name="connsiteY37" fmla="*/ 158484 h 372600"/>
                <a:gd name="connsiteX38" fmla="*/ 243306 w 328770"/>
                <a:gd name="connsiteY38" fmla="*/ 171831 h 372600"/>
                <a:gd name="connsiteX39" fmla="*/ 241071 w 328770"/>
                <a:gd name="connsiteY39" fmla="*/ 174067 h 372600"/>
                <a:gd name="connsiteX40" fmla="*/ 241071 w 328770"/>
                <a:gd name="connsiteY40" fmla="*/ 54789 h 372600"/>
                <a:gd name="connsiteX41" fmla="*/ 230113 w 328770"/>
                <a:gd name="connsiteY41" fmla="*/ 43831 h 372600"/>
                <a:gd name="connsiteX42" fmla="*/ 32873 w 328770"/>
                <a:gd name="connsiteY42" fmla="*/ 43831 h 372600"/>
                <a:gd name="connsiteX43" fmla="*/ 21916 w 328770"/>
                <a:gd name="connsiteY43" fmla="*/ 54789 h 372600"/>
                <a:gd name="connsiteX44" fmla="*/ 21916 w 328770"/>
                <a:gd name="connsiteY44" fmla="*/ 317773 h 372600"/>
                <a:gd name="connsiteX45" fmla="*/ 32873 w 328770"/>
                <a:gd name="connsiteY45" fmla="*/ 328731 h 372600"/>
                <a:gd name="connsiteX46" fmla="*/ 114409 w 328770"/>
                <a:gd name="connsiteY46" fmla="*/ 328731 h 372600"/>
                <a:gd name="connsiteX47" fmla="*/ 110830 w 328770"/>
                <a:gd name="connsiteY47" fmla="*/ 343046 h 372600"/>
                <a:gd name="connsiteX48" fmla="*/ 109640 w 328770"/>
                <a:gd name="connsiteY48" fmla="*/ 350646 h 372600"/>
                <a:gd name="connsiteX49" fmla="*/ 32873 w 328770"/>
                <a:gd name="connsiteY49" fmla="*/ 350646 h 372600"/>
                <a:gd name="connsiteX50" fmla="*/ 0 w 328770"/>
                <a:gd name="connsiteY50" fmla="*/ 317773 h 372600"/>
                <a:gd name="connsiteX51" fmla="*/ 0 w 328770"/>
                <a:gd name="connsiteY51" fmla="*/ 54789 h 372600"/>
                <a:gd name="connsiteX52" fmla="*/ 32873 w 328770"/>
                <a:gd name="connsiteY52" fmla="*/ 21915 h 372600"/>
                <a:gd name="connsiteX53" fmla="*/ 43831 w 328770"/>
                <a:gd name="connsiteY53" fmla="*/ 21915 h 372600"/>
                <a:gd name="connsiteX54" fmla="*/ 43831 w 328770"/>
                <a:gd name="connsiteY54" fmla="*/ 10958 h 372600"/>
                <a:gd name="connsiteX55" fmla="*/ 258805 w 328770"/>
                <a:gd name="connsiteY55" fmla="*/ 187328 h 372600"/>
                <a:gd name="connsiteX56" fmla="*/ 152966 w 328770"/>
                <a:gd name="connsiteY56" fmla="*/ 293167 h 372600"/>
                <a:gd name="connsiteX57" fmla="*/ 140299 w 328770"/>
                <a:gd name="connsiteY57" fmla="*/ 315536 h 372600"/>
                <a:gd name="connsiteX58" fmla="*/ 132093 w 328770"/>
                <a:gd name="connsiteY58" fmla="*/ 348363 h 372600"/>
                <a:gd name="connsiteX59" fmla="*/ 155732 w 328770"/>
                <a:gd name="connsiteY59" fmla="*/ 372001 h 372600"/>
                <a:gd name="connsiteX60" fmla="*/ 188559 w 328770"/>
                <a:gd name="connsiteY60" fmla="*/ 363793 h 372600"/>
                <a:gd name="connsiteX61" fmla="*/ 210928 w 328770"/>
                <a:gd name="connsiteY61" fmla="*/ 351129 h 372600"/>
                <a:gd name="connsiteX62" fmla="*/ 316767 w 328770"/>
                <a:gd name="connsiteY62" fmla="*/ 245290 h 372600"/>
                <a:gd name="connsiteX63" fmla="*/ 316767 w 328770"/>
                <a:gd name="connsiteY63" fmla="*/ 187328 h 372600"/>
                <a:gd name="connsiteX64" fmla="*/ 258805 w 328770"/>
                <a:gd name="connsiteY64" fmla="*/ 187328 h 37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28770" h="372600">
                  <a:moveTo>
                    <a:pt x="65747" y="120535"/>
                  </a:moveTo>
                  <a:cubicBezTo>
                    <a:pt x="65747" y="114483"/>
                    <a:pt x="70653" y="109577"/>
                    <a:pt x="76704" y="109577"/>
                  </a:cubicBezTo>
                  <a:lnTo>
                    <a:pt x="186282" y="109577"/>
                  </a:lnTo>
                  <a:cubicBezTo>
                    <a:pt x="192333" y="109577"/>
                    <a:pt x="197240" y="114483"/>
                    <a:pt x="197240" y="120535"/>
                  </a:cubicBezTo>
                  <a:cubicBezTo>
                    <a:pt x="197240" y="126586"/>
                    <a:pt x="192333" y="131492"/>
                    <a:pt x="186282" y="131492"/>
                  </a:cubicBezTo>
                  <a:lnTo>
                    <a:pt x="76704" y="131492"/>
                  </a:lnTo>
                  <a:cubicBezTo>
                    <a:pt x="70653" y="131492"/>
                    <a:pt x="65747" y="126586"/>
                    <a:pt x="65747" y="120535"/>
                  </a:cubicBezTo>
                  <a:close/>
                  <a:moveTo>
                    <a:pt x="76704" y="175323"/>
                  </a:moveTo>
                  <a:cubicBezTo>
                    <a:pt x="70653" y="175323"/>
                    <a:pt x="65747" y="180230"/>
                    <a:pt x="65747" y="186281"/>
                  </a:cubicBezTo>
                  <a:cubicBezTo>
                    <a:pt x="65747" y="192332"/>
                    <a:pt x="70653" y="197239"/>
                    <a:pt x="76704" y="197239"/>
                  </a:cubicBezTo>
                  <a:lnTo>
                    <a:pt x="186282" y="197239"/>
                  </a:lnTo>
                  <a:cubicBezTo>
                    <a:pt x="192333" y="197239"/>
                    <a:pt x="197240" y="192332"/>
                    <a:pt x="197240" y="186281"/>
                  </a:cubicBezTo>
                  <a:cubicBezTo>
                    <a:pt x="197240" y="180230"/>
                    <a:pt x="192333" y="175323"/>
                    <a:pt x="186282" y="175323"/>
                  </a:cubicBezTo>
                  <a:lnTo>
                    <a:pt x="76704" y="175323"/>
                  </a:lnTo>
                  <a:close/>
                  <a:moveTo>
                    <a:pt x="65747" y="252027"/>
                  </a:moveTo>
                  <a:cubicBezTo>
                    <a:pt x="65747" y="245976"/>
                    <a:pt x="70653" y="241069"/>
                    <a:pt x="76704" y="241069"/>
                  </a:cubicBezTo>
                  <a:lnTo>
                    <a:pt x="120535" y="241069"/>
                  </a:lnTo>
                  <a:cubicBezTo>
                    <a:pt x="126587" y="241069"/>
                    <a:pt x="131493" y="245976"/>
                    <a:pt x="131493" y="252027"/>
                  </a:cubicBezTo>
                  <a:cubicBezTo>
                    <a:pt x="131493" y="258078"/>
                    <a:pt x="126587" y="262985"/>
                    <a:pt x="120535" y="262985"/>
                  </a:cubicBezTo>
                  <a:lnTo>
                    <a:pt x="76704" y="262985"/>
                  </a:lnTo>
                  <a:cubicBezTo>
                    <a:pt x="70653" y="262985"/>
                    <a:pt x="65747" y="258078"/>
                    <a:pt x="65747" y="252027"/>
                  </a:cubicBezTo>
                  <a:close/>
                  <a:moveTo>
                    <a:pt x="43831" y="10958"/>
                  </a:moveTo>
                  <a:cubicBezTo>
                    <a:pt x="43831" y="4906"/>
                    <a:pt x="48737" y="0"/>
                    <a:pt x="54789" y="0"/>
                  </a:cubicBezTo>
                  <a:cubicBezTo>
                    <a:pt x="60841" y="0"/>
                    <a:pt x="65747" y="4906"/>
                    <a:pt x="65747" y="10958"/>
                  </a:cubicBezTo>
                  <a:lnTo>
                    <a:pt x="65747" y="21915"/>
                  </a:lnTo>
                  <a:lnTo>
                    <a:pt x="120535" y="21915"/>
                  </a:lnTo>
                  <a:lnTo>
                    <a:pt x="120535" y="10958"/>
                  </a:lnTo>
                  <a:cubicBezTo>
                    <a:pt x="120535" y="4906"/>
                    <a:pt x="125441" y="0"/>
                    <a:pt x="131493" y="0"/>
                  </a:cubicBezTo>
                  <a:cubicBezTo>
                    <a:pt x="137544" y="0"/>
                    <a:pt x="142451" y="4906"/>
                    <a:pt x="142451" y="10958"/>
                  </a:cubicBezTo>
                  <a:lnTo>
                    <a:pt x="142451" y="21915"/>
                  </a:lnTo>
                  <a:lnTo>
                    <a:pt x="197240" y="21915"/>
                  </a:lnTo>
                  <a:lnTo>
                    <a:pt x="197240" y="10958"/>
                  </a:lnTo>
                  <a:cubicBezTo>
                    <a:pt x="197240" y="4906"/>
                    <a:pt x="202146" y="0"/>
                    <a:pt x="208197" y="0"/>
                  </a:cubicBezTo>
                  <a:cubicBezTo>
                    <a:pt x="214248" y="0"/>
                    <a:pt x="219155" y="4906"/>
                    <a:pt x="219155" y="10958"/>
                  </a:cubicBezTo>
                  <a:lnTo>
                    <a:pt x="219155" y="21915"/>
                  </a:lnTo>
                  <a:lnTo>
                    <a:pt x="230113" y="21915"/>
                  </a:lnTo>
                  <a:cubicBezTo>
                    <a:pt x="248268" y="21915"/>
                    <a:pt x="262986" y="36633"/>
                    <a:pt x="262986" y="54789"/>
                  </a:cubicBezTo>
                  <a:lnTo>
                    <a:pt x="262986" y="158484"/>
                  </a:lnTo>
                  <a:cubicBezTo>
                    <a:pt x="255837" y="161547"/>
                    <a:pt x="249142" y="165996"/>
                    <a:pt x="243306" y="171831"/>
                  </a:cubicBezTo>
                  <a:lnTo>
                    <a:pt x="241071" y="174067"/>
                  </a:lnTo>
                  <a:lnTo>
                    <a:pt x="241071" y="54789"/>
                  </a:lnTo>
                  <a:cubicBezTo>
                    <a:pt x="241071" y="48737"/>
                    <a:pt x="236164" y="43831"/>
                    <a:pt x="230113" y="43831"/>
                  </a:cubicBezTo>
                  <a:lnTo>
                    <a:pt x="32873" y="43831"/>
                  </a:lnTo>
                  <a:cubicBezTo>
                    <a:pt x="26822" y="43831"/>
                    <a:pt x="21916" y="48737"/>
                    <a:pt x="21916" y="54789"/>
                  </a:cubicBezTo>
                  <a:lnTo>
                    <a:pt x="21916" y="317773"/>
                  </a:lnTo>
                  <a:cubicBezTo>
                    <a:pt x="21916" y="323824"/>
                    <a:pt x="26822" y="328731"/>
                    <a:pt x="32873" y="328731"/>
                  </a:cubicBezTo>
                  <a:lnTo>
                    <a:pt x="114409" y="328731"/>
                  </a:lnTo>
                  <a:lnTo>
                    <a:pt x="110830" y="343046"/>
                  </a:lnTo>
                  <a:cubicBezTo>
                    <a:pt x="110190" y="345608"/>
                    <a:pt x="109800" y="348146"/>
                    <a:pt x="109640" y="350646"/>
                  </a:cubicBezTo>
                  <a:lnTo>
                    <a:pt x="32873" y="350646"/>
                  </a:lnTo>
                  <a:cubicBezTo>
                    <a:pt x="14718" y="350646"/>
                    <a:pt x="0" y="335928"/>
                    <a:pt x="0" y="317773"/>
                  </a:cubicBezTo>
                  <a:lnTo>
                    <a:pt x="0" y="54789"/>
                  </a:lnTo>
                  <a:cubicBezTo>
                    <a:pt x="0" y="36633"/>
                    <a:pt x="14718" y="21915"/>
                    <a:pt x="32873" y="21915"/>
                  </a:cubicBezTo>
                  <a:lnTo>
                    <a:pt x="43831" y="21915"/>
                  </a:lnTo>
                  <a:lnTo>
                    <a:pt x="43831" y="10958"/>
                  </a:lnTo>
                  <a:close/>
                  <a:moveTo>
                    <a:pt x="258805" y="187328"/>
                  </a:moveTo>
                  <a:lnTo>
                    <a:pt x="152966" y="293167"/>
                  </a:lnTo>
                  <a:cubicBezTo>
                    <a:pt x="146794" y="299338"/>
                    <a:pt x="142416" y="307070"/>
                    <a:pt x="140299" y="315536"/>
                  </a:cubicBezTo>
                  <a:lnTo>
                    <a:pt x="132093" y="348363"/>
                  </a:lnTo>
                  <a:cubicBezTo>
                    <a:pt x="128524" y="362639"/>
                    <a:pt x="141456" y="375569"/>
                    <a:pt x="155732" y="372001"/>
                  </a:cubicBezTo>
                  <a:lnTo>
                    <a:pt x="188559" y="363793"/>
                  </a:lnTo>
                  <a:cubicBezTo>
                    <a:pt x="197025" y="361676"/>
                    <a:pt x="204757" y="357300"/>
                    <a:pt x="210928" y="351129"/>
                  </a:cubicBezTo>
                  <a:lnTo>
                    <a:pt x="316767" y="245290"/>
                  </a:lnTo>
                  <a:cubicBezTo>
                    <a:pt x="332772" y="229283"/>
                    <a:pt x="332772" y="203333"/>
                    <a:pt x="316767" y="187328"/>
                  </a:cubicBezTo>
                  <a:cubicBezTo>
                    <a:pt x="300762" y="171322"/>
                    <a:pt x="274809" y="171322"/>
                    <a:pt x="258805" y="187328"/>
                  </a:cubicBezTo>
                  <a:close/>
                </a:path>
              </a:pathLst>
            </a:custGeom>
            <a:gradFill flip="none" rotWithShape="1">
              <a:gsLst>
                <a:gs pos="0">
                  <a:srgbClr val="006BEB"/>
                </a:gs>
                <a:gs pos="100000">
                  <a:srgbClr val="CA4961">
                    <a:lumMod val="88000"/>
                    <a:lumOff val="12000"/>
                  </a:srgbClr>
                </a:gs>
              </a:gsLst>
              <a:lin ang="13500000" scaled="1"/>
              <a:tileRect/>
            </a:gradFill>
            <a:ln w="222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3052D935-D72B-BF61-0380-C2DAC8B455C6}"/>
              </a:ext>
              <a:ext uri="{C183D7F6-B498-43B3-948B-1728B52AA6E4}">
                <adec:decorative xmlns:adec="http://schemas.microsoft.com/office/drawing/2017/decorative" val="1"/>
              </a:ext>
            </a:extLst>
          </p:cNvPr>
          <p:cNvSpPr txBox="1">
            <a:spLocks/>
          </p:cNvSpPr>
          <p:nvPr/>
        </p:nvSpPr>
        <p:spPr>
          <a:xfrm>
            <a:off x="4664729" y="2750682"/>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Manufacturing</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CCADFD71-DCFB-D4F8-47E6-334C58A0A87E}"/>
              </a:ext>
              <a:ext uri="{C183D7F6-B498-43B3-948B-1728B52AA6E4}">
                <adec:decorative xmlns:adec="http://schemas.microsoft.com/office/drawing/2017/decorative" val="1"/>
              </a:ext>
            </a:extLst>
          </p:cNvPr>
          <p:cNvSpPr txBox="1">
            <a:spLocks/>
          </p:cNvSpPr>
          <p:nvPr/>
        </p:nvSpPr>
        <p:spPr>
          <a:xfrm>
            <a:off x="4664729" y="3763218"/>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IN" sz="1100" b="0" i="0" u="none" strike="noStrike" kern="1200" cap="none" spc="0" normalizeH="0" baseline="0" noProof="0">
                <a:ln>
                  <a:noFill/>
                </a:ln>
                <a:solidFill>
                  <a:srgbClr val="FFFFFF"/>
                </a:solidFill>
                <a:effectLst/>
                <a:uLnTx/>
                <a:uFillTx/>
                <a:latin typeface="Segoe UI Semibold"/>
                <a:ea typeface="+mn-ea"/>
                <a:cs typeface="+mn-cs"/>
              </a:rPr>
              <a:t>Sustainability</a:t>
            </a:r>
          </a:p>
        </p:txBody>
      </p:sp>
      <p:sp>
        <p:nvSpPr>
          <p:cNvPr id="54" name="TextBox 53">
            <a:extLst>
              <a:ext uri="{FF2B5EF4-FFF2-40B4-BE49-F238E27FC236}">
                <a16:creationId xmlns:a16="http://schemas.microsoft.com/office/drawing/2014/main" id="{D1343E4E-07D9-DD1D-8B12-FF29C0A91009}"/>
              </a:ext>
              <a:ext uri="{C183D7F6-B498-43B3-948B-1728B52AA6E4}">
                <adec:decorative xmlns:adec="http://schemas.microsoft.com/office/drawing/2017/decorative" val="1"/>
              </a:ext>
            </a:extLst>
          </p:cNvPr>
          <p:cNvSpPr txBox="1">
            <a:spLocks/>
          </p:cNvSpPr>
          <p:nvPr/>
        </p:nvSpPr>
        <p:spPr>
          <a:xfrm>
            <a:off x="998220" y="2750682"/>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IN" sz="1100" b="0" i="0" u="none" strike="noStrike" kern="1200" cap="none" spc="0" normalizeH="0" baseline="0" noProof="0">
                <a:ln>
                  <a:noFill/>
                </a:ln>
                <a:solidFill>
                  <a:srgbClr val="FFFFFF"/>
                </a:solidFill>
                <a:effectLst/>
                <a:uLnTx/>
                <a:uFillTx/>
                <a:latin typeface="Segoe UI Semibold"/>
                <a:ea typeface="+mn-ea"/>
                <a:cs typeface="+mn-cs"/>
              </a:rPr>
              <a:t>Finance</a:t>
            </a:r>
          </a:p>
        </p:txBody>
      </p:sp>
      <p:sp>
        <p:nvSpPr>
          <p:cNvPr id="58" name="TextBox 57">
            <a:extLst>
              <a:ext uri="{FF2B5EF4-FFF2-40B4-BE49-F238E27FC236}">
                <a16:creationId xmlns:a16="http://schemas.microsoft.com/office/drawing/2014/main" id="{735106F6-31BF-D8D9-08B1-0FD1AC5EF50B}"/>
              </a:ext>
              <a:ext uri="{C183D7F6-B498-43B3-948B-1728B52AA6E4}">
                <adec:decorative xmlns:adec="http://schemas.microsoft.com/office/drawing/2017/decorative" val="1"/>
              </a:ext>
            </a:extLst>
          </p:cNvPr>
          <p:cNvSpPr txBox="1">
            <a:spLocks/>
          </p:cNvSpPr>
          <p:nvPr/>
        </p:nvSpPr>
        <p:spPr>
          <a:xfrm>
            <a:off x="998220" y="4619996"/>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Sales</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 name="TextBox 5">
            <a:extLst>
              <a:ext uri="{FF2B5EF4-FFF2-40B4-BE49-F238E27FC236}">
                <a16:creationId xmlns:a16="http://schemas.microsoft.com/office/drawing/2014/main" id="{B1751437-FF1B-F05C-474E-07299C57F870}"/>
              </a:ext>
              <a:ext uri="{C183D7F6-B498-43B3-948B-1728B52AA6E4}">
                <adec:decorative xmlns:adec="http://schemas.microsoft.com/office/drawing/2017/decorative" val="1"/>
              </a:ext>
            </a:extLst>
          </p:cNvPr>
          <p:cNvSpPr txBox="1">
            <a:spLocks/>
          </p:cNvSpPr>
          <p:nvPr/>
        </p:nvSpPr>
        <p:spPr>
          <a:xfrm>
            <a:off x="998220" y="3763218"/>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Subscription Billing</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8" name="TextBox 67">
            <a:extLst>
              <a:ext uri="{FF2B5EF4-FFF2-40B4-BE49-F238E27FC236}">
                <a16:creationId xmlns:a16="http://schemas.microsoft.com/office/drawing/2014/main" id="{BDFED7AB-D8B5-06E0-0934-9A3632F94341}"/>
              </a:ext>
              <a:ext uri="{C183D7F6-B498-43B3-948B-1728B52AA6E4}">
                <adec:decorative xmlns:adec="http://schemas.microsoft.com/office/drawing/2017/decorative" val="1"/>
              </a:ext>
            </a:extLst>
          </p:cNvPr>
          <p:cNvSpPr txBox="1">
            <a:spLocks/>
          </p:cNvSpPr>
          <p:nvPr/>
        </p:nvSpPr>
        <p:spPr>
          <a:xfrm>
            <a:off x="8331238" y="4481883"/>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Inventory</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 name="TextBox 2">
            <a:extLst>
              <a:ext uri="{FF2B5EF4-FFF2-40B4-BE49-F238E27FC236}">
                <a16:creationId xmlns:a16="http://schemas.microsoft.com/office/drawing/2014/main" id="{BAE04D18-9E9A-E3FD-60A9-C2A23DDE298F}"/>
              </a:ext>
              <a:ext uri="{C183D7F6-B498-43B3-948B-1728B52AA6E4}">
                <adec:decorative xmlns:adec="http://schemas.microsoft.com/office/drawing/2017/decorative" val="1"/>
              </a:ext>
            </a:extLst>
          </p:cNvPr>
          <p:cNvSpPr txBox="1">
            <a:spLocks/>
          </p:cNvSpPr>
          <p:nvPr/>
        </p:nvSpPr>
        <p:spPr>
          <a:xfrm>
            <a:off x="8331238" y="5234943"/>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Projects</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88C795E-3853-C091-35E7-F15F96DE600D}"/>
              </a:ext>
              <a:ext uri="{C183D7F6-B498-43B3-948B-1728B52AA6E4}">
                <adec:decorative xmlns:adec="http://schemas.microsoft.com/office/drawing/2017/decorative" val="1"/>
              </a:ext>
            </a:extLst>
          </p:cNvPr>
          <p:cNvSpPr txBox="1">
            <a:spLocks/>
          </p:cNvSpPr>
          <p:nvPr/>
        </p:nvSpPr>
        <p:spPr>
          <a:xfrm>
            <a:off x="8331238" y="2750682"/>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Purchasing</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Box 11">
            <a:extLst>
              <a:ext uri="{FF2B5EF4-FFF2-40B4-BE49-F238E27FC236}">
                <a16:creationId xmlns:a16="http://schemas.microsoft.com/office/drawing/2014/main" id="{314FF75B-E9DB-6C2A-2F86-D402ED99E76E}"/>
              </a:ext>
              <a:ext uri="{C183D7F6-B498-43B3-948B-1728B52AA6E4}">
                <adec:decorative xmlns:adec="http://schemas.microsoft.com/office/drawing/2017/decorative" val="1"/>
              </a:ext>
            </a:extLst>
          </p:cNvPr>
          <p:cNvSpPr txBox="1">
            <a:spLocks/>
          </p:cNvSpPr>
          <p:nvPr/>
        </p:nvSpPr>
        <p:spPr>
          <a:xfrm>
            <a:off x="8331238" y="3633244"/>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Fixed Assets</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370803781"/>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0.01719 -0.00023 L 0 2.59259E-6 " pathEditMode="relative" rAng="0" ptsTypes="AA">
                                          <p:cBhvr>
                                            <p:cTn id="9" dur="500" fill="hold"/>
                                            <p:tgtEl>
                                              <p:spTgt spid="56"/>
                                            </p:tgtEl>
                                            <p:attrNameLst>
                                              <p:attrName>ppt_x</p:attrName>
                                              <p:attrName>ppt_y</p:attrName>
                                            </p:attrNameLst>
                                          </p:cBhvr>
                                          <p:rCtr x="859" y="0"/>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23" presetClass="entr" presetSubtype="16" fill="hold" nodeType="withEffect">
                                      <p:stCondLst>
                                        <p:cond delay="0"/>
                                      </p:stCondLst>
                                      <p:childTnLst>
                                        <p:set>
                                          <p:cBhvr>
                                            <p:cTn id="15" dur="1" fill="hold">
                                              <p:stCondLst>
                                                <p:cond delay="0"/>
                                              </p:stCondLst>
                                            </p:cTn>
                                            <p:tgtEl>
                                              <p:spTgt spid="79"/>
                                            </p:tgtEl>
                                            <p:attrNameLst>
                                              <p:attrName>style.visibility</p:attrName>
                                            </p:attrNameLst>
                                          </p:cBhvr>
                                          <p:to>
                                            <p:strVal val="visible"/>
                                          </p:to>
                                        </p:set>
                                        <p:anim calcmode="lin" valueType="num">
                                          <p:cBhvr>
                                            <p:cTn id="16" dur="200" fill="hold"/>
                                            <p:tgtEl>
                                              <p:spTgt spid="79"/>
                                            </p:tgtEl>
                                            <p:attrNameLst>
                                              <p:attrName>ppt_w</p:attrName>
                                            </p:attrNameLst>
                                          </p:cBhvr>
                                          <p:tavLst>
                                            <p:tav tm="0">
                                              <p:val>
                                                <p:fltVal val="0"/>
                                              </p:val>
                                            </p:tav>
                                            <p:tav tm="100000">
                                              <p:val>
                                                <p:strVal val="#ppt_w"/>
                                              </p:val>
                                            </p:tav>
                                          </p:tavLst>
                                        </p:anim>
                                        <p:anim calcmode="lin" valueType="num">
                                          <p:cBhvr>
                                            <p:cTn id="17" dur="200" fill="hold"/>
                                            <p:tgtEl>
                                              <p:spTgt spid="79"/>
                                            </p:tgtEl>
                                            <p:attrNameLst>
                                              <p:attrName>ppt_h</p:attrName>
                                            </p:attrNameLst>
                                          </p:cBhvr>
                                          <p:tavLst>
                                            <p:tav tm="0">
                                              <p:val>
                                                <p:fltVal val="0"/>
                                              </p:val>
                                            </p:tav>
                                            <p:tav tm="100000">
                                              <p:val>
                                                <p:strVal val="#ppt_h"/>
                                              </p:val>
                                            </p:tav>
                                          </p:tavLst>
                                        </p:anim>
                                      </p:childTnLst>
                                    </p:cTn>
                                  </p:par>
                                  <p:par>
                                    <p:cTn id="18" presetID="6" presetClass="emph" presetSubtype="0" fill="hold" nodeType="withEffect" p14:presetBounceEnd="99000">
                                      <p:stCondLst>
                                        <p:cond delay="0"/>
                                      </p:stCondLst>
                                      <p:childTnLst>
                                        <p:animScale p14:bounceEnd="99000">
                                          <p:cBhvr>
                                            <p:cTn id="19" dur="1000" fill="hold"/>
                                            <p:tgtEl>
                                              <p:spTgt spid="79"/>
                                            </p:tgtEl>
                                          </p:cBhvr>
                                          <p:by x="110000" y="110000"/>
                                        </p:animScale>
                                      </p:childTnLst>
                                    </p:cTn>
                                  </p:par>
                                  <p:par>
                                    <p:cTn id="20" presetID="6" presetClass="emph" presetSubtype="0" accel="50000" decel="50000" fill="hold" nodeType="withEffect">
                                      <p:stCondLst>
                                        <p:cond delay="0"/>
                                      </p:stCondLst>
                                      <p:childTnLst>
                                        <p:animScale>
                                          <p:cBhvr>
                                            <p:cTn id="21" dur="250" fill="hold"/>
                                            <p:tgtEl>
                                              <p:spTgt spid="79"/>
                                            </p:tgtEl>
                                          </p:cBhvr>
                                          <p:by x="91000" y="91000"/>
                                        </p:animScale>
                                      </p:childTnLst>
                                    </p:cTn>
                                  </p:par>
                                  <p:par>
                                    <p:cTn id="22" presetID="10" presetClass="entr" presetSubtype="0" fill="hold" grpId="0" nodeType="withEffect">
                                      <p:stCondLst>
                                        <p:cond delay="25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42" presetClass="path" presetSubtype="0" decel="100000" fill="hold" grpId="1" nodeType="withEffect">
                                      <p:stCondLst>
                                        <p:cond delay="1000"/>
                                      </p:stCondLst>
                                      <p:childTnLst>
                                        <p:animMotion origin="layout" path="M 4.79167E-6 -0.03472 L 4.79167E-6 1.11111E-6 " pathEditMode="relative" rAng="0" ptsTypes="AA">
                                          <p:cBhvr>
                                            <p:cTn id="29" dur="500" fill="hold"/>
                                            <p:tgtEl>
                                              <p:spTgt spid="54"/>
                                            </p:tgtEl>
                                            <p:attrNameLst>
                                              <p:attrName>ppt_x</p:attrName>
                                              <p:attrName>ppt_y</p:attrName>
                                            </p:attrNameLst>
                                          </p:cBhvr>
                                          <p:rCtr x="0" y="1736"/>
                                        </p:animMotion>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4" presetClass="path" presetSubtype="0" fill="hold" grpId="1" nodeType="withEffect">
                                      <p:stCondLst>
                                        <p:cond delay="0"/>
                                      </p:stCondLst>
                                      <p:childTnLst>
                                        <p:animMotion origin="layout" path="M 4.79167E-6 3.7037E-7 L 4.79167E-6 -0.03125 " pathEditMode="relative" rAng="0" ptsTypes="AA">
                                          <p:cBhvr>
                                            <p:cTn id="35" dur="500" spd="-100000" fill="hold"/>
                                            <p:tgtEl>
                                              <p:spTgt spid="26"/>
                                            </p:tgtEl>
                                            <p:attrNameLst>
                                              <p:attrName>ppt_x</p:attrName>
                                              <p:attrName>ppt_y</p:attrName>
                                            </p:attrNameLst>
                                          </p:cBhvr>
                                          <p:rCtr x="0" y="-1574"/>
                                        </p:animMotion>
                                      </p:childTnLst>
                                    </p:cTn>
                                  </p:par>
                                  <p:par>
                                    <p:cTn id="36" presetID="10" presetClass="entr" presetSubtype="0" fill="hold" grpId="0" nodeType="withEffect">
                                      <p:stCondLst>
                                        <p:cond delay="100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42" presetClass="path" presetSubtype="0" decel="100000" fill="hold" grpId="1" nodeType="withEffect">
                                      <p:stCondLst>
                                        <p:cond delay="1000"/>
                                      </p:stCondLst>
                                      <p:childTnLst>
                                        <p:animMotion origin="layout" path="M 4.79167E-6 -0.03472 L 4.79167E-6 1.11111E-6 " pathEditMode="relative" rAng="0" ptsTypes="AA">
                                          <p:cBhvr>
                                            <p:cTn id="40" dur="500" fill="hold"/>
                                            <p:tgtEl>
                                              <p:spTgt spid="6"/>
                                            </p:tgtEl>
                                            <p:attrNameLst>
                                              <p:attrName>ppt_x</p:attrName>
                                              <p:attrName>ppt_y</p:attrName>
                                            </p:attrNameLst>
                                          </p:cBhvr>
                                          <p:rCtr x="0" y="1736"/>
                                        </p:animMotion>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64" presetClass="path" presetSubtype="0" fill="hold" grpId="1" nodeType="withEffect">
                                      <p:stCondLst>
                                        <p:cond delay="0"/>
                                      </p:stCondLst>
                                      <p:childTnLst>
                                        <p:animMotion origin="layout" path="M 4.79167E-6 3.7037E-7 L 4.79167E-6 -0.03125 " pathEditMode="relative" rAng="0" ptsTypes="AA">
                                          <p:cBhvr>
                                            <p:cTn id="46" dur="500" spd="-100000" fill="hold"/>
                                            <p:tgtEl>
                                              <p:spTgt spid="8"/>
                                            </p:tgtEl>
                                            <p:attrNameLst>
                                              <p:attrName>ppt_x</p:attrName>
                                              <p:attrName>ppt_y</p:attrName>
                                            </p:attrNameLst>
                                          </p:cBhvr>
                                          <p:rCtr x="0" y="-1574"/>
                                        </p:animMotion>
                                      </p:childTnLst>
                                    </p:cTn>
                                  </p:par>
                                  <p:par>
                                    <p:cTn id="47" presetID="10" presetClass="entr" presetSubtype="0" fill="hold" grpId="0" nodeType="withEffect">
                                      <p:stCondLst>
                                        <p:cond delay="1000"/>
                                      </p:stCondLst>
                                      <p:childTnLst>
                                        <p:set>
                                          <p:cBhvr>
                                            <p:cTn id="48" dur="1" fill="hold">
                                              <p:stCondLst>
                                                <p:cond delay="0"/>
                                              </p:stCondLst>
                                            </p:cTn>
                                            <p:tgtEl>
                                              <p:spTgt spid="58"/>
                                            </p:tgtEl>
                                            <p:attrNameLst>
                                              <p:attrName>style.visibility</p:attrName>
                                            </p:attrNameLst>
                                          </p:cBhvr>
                                          <p:to>
                                            <p:strVal val="visible"/>
                                          </p:to>
                                        </p:set>
                                        <p:animEffect transition="in" filter="fade">
                                          <p:cBhvr>
                                            <p:cTn id="49" dur="500"/>
                                            <p:tgtEl>
                                              <p:spTgt spid="58"/>
                                            </p:tgtEl>
                                          </p:cBhvr>
                                        </p:animEffect>
                                      </p:childTnLst>
                                    </p:cTn>
                                  </p:par>
                                  <p:par>
                                    <p:cTn id="50" presetID="42" presetClass="path" presetSubtype="0" decel="100000" fill="hold" grpId="1" nodeType="withEffect">
                                      <p:stCondLst>
                                        <p:cond delay="1000"/>
                                      </p:stCondLst>
                                      <p:childTnLst>
                                        <p:animMotion origin="layout" path="M 4.79167E-6 -0.03472 L 4.79167E-6 1.11111E-6 " pathEditMode="relative" rAng="0" ptsTypes="AA">
                                          <p:cBhvr>
                                            <p:cTn id="51" dur="500" fill="hold"/>
                                            <p:tgtEl>
                                              <p:spTgt spid="58"/>
                                            </p:tgtEl>
                                            <p:attrNameLst>
                                              <p:attrName>ppt_x</p:attrName>
                                              <p:attrName>ppt_y</p:attrName>
                                            </p:attrNameLst>
                                          </p:cBhvr>
                                          <p:rCtr x="0" y="1736"/>
                                        </p:animMotion>
                                      </p:childTnLst>
                                    </p:cTn>
                                  </p:par>
                                </p:childTnLst>
                              </p:cTn>
                            </p:par>
                            <p:par>
                              <p:cTn id="52" fill="hold">
                                <p:stCondLst>
                                  <p:cond delay="5000"/>
                                </p:stCondLst>
                                <p:childTnLst>
                                  <p:par>
                                    <p:cTn id="53" presetID="10" presetClass="entr" presetSubtype="0" fill="hold" grpId="0" nodeType="after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500"/>
                                            <p:tgtEl>
                                              <p:spTgt spid="59"/>
                                            </p:tgtEl>
                                          </p:cBhvr>
                                        </p:animEffect>
                                      </p:childTnLst>
                                    </p:cTn>
                                  </p:par>
                                  <p:par>
                                    <p:cTn id="56" presetID="64" presetClass="path" presetSubtype="0" fill="hold" grpId="1" nodeType="withEffect">
                                      <p:stCondLst>
                                        <p:cond delay="0"/>
                                      </p:stCondLst>
                                      <p:childTnLst>
                                        <p:animMotion origin="layout" path="M 4.79167E-6 3.7037E-7 L 4.79167E-6 -0.03125 " pathEditMode="relative" rAng="0" ptsTypes="AA">
                                          <p:cBhvr>
                                            <p:cTn id="57" dur="500" spd="-100000" fill="hold"/>
                                            <p:tgtEl>
                                              <p:spTgt spid="59"/>
                                            </p:tgtEl>
                                            <p:attrNameLst>
                                              <p:attrName>ppt_x</p:attrName>
                                              <p:attrName>ppt_y</p:attrName>
                                            </p:attrNameLst>
                                          </p:cBhvr>
                                          <p:rCtr x="0" y="-1574"/>
                                        </p:animMotion>
                                      </p:childTnLst>
                                    </p:cTn>
                                  </p:par>
                                  <p:par>
                                    <p:cTn id="58" presetID="16" presetClass="entr" presetSubtype="42" fill="hold"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barn(outHorizontal)">
                                          <p:cBhvr>
                                            <p:cTn id="60" dur="1000"/>
                                            <p:tgtEl>
                                              <p:spTgt spid="76"/>
                                            </p:tgtEl>
                                          </p:cBhvr>
                                        </p:animEffect>
                                      </p:childTnLst>
                                    </p:cTn>
                                  </p:par>
                                  <p:par>
                                    <p:cTn id="61" presetID="10" presetClass="entr" presetSubtype="0" fill="hold" grpId="0" nodeType="withEffect">
                                      <p:stCondLst>
                                        <p:cond delay="100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42" presetClass="path" presetSubtype="0" decel="100000" fill="hold" grpId="1" nodeType="withEffect">
                                      <p:stCondLst>
                                        <p:cond delay="1000"/>
                                      </p:stCondLst>
                                      <p:childTnLst>
                                        <p:animMotion origin="layout" path="M 4.79167E-6 -0.03472 L 4.79167E-6 1.11111E-6 " pathEditMode="relative" rAng="0" ptsTypes="AA">
                                          <p:cBhvr>
                                            <p:cTn id="65" dur="500" fill="hold"/>
                                            <p:tgtEl>
                                              <p:spTgt spid="55"/>
                                            </p:tgtEl>
                                            <p:attrNameLst>
                                              <p:attrName>ppt_x</p:attrName>
                                              <p:attrName>ppt_y</p:attrName>
                                            </p:attrNameLst>
                                          </p:cBhvr>
                                          <p:rCtr x="0" y="1736"/>
                                        </p:animMotion>
                                      </p:childTnLst>
                                    </p:cTn>
                                  </p:par>
                                </p:childTnLst>
                              </p:cTn>
                            </p:par>
                            <p:par>
                              <p:cTn id="66" fill="hold">
                                <p:stCondLst>
                                  <p:cond delay="6500"/>
                                </p:stCondLst>
                                <p:childTnLst>
                                  <p:par>
                                    <p:cTn id="67" presetID="10" presetClass="entr" presetSubtype="0" fill="hold" grpId="0" nodeType="afterEffect">
                                      <p:stCondLst>
                                        <p:cond delay="0"/>
                                      </p:stCondLst>
                                      <p:childTnLst>
                                        <p:set>
                                          <p:cBhvr>
                                            <p:cTn id="68" dur="1" fill="hold">
                                              <p:stCondLst>
                                                <p:cond delay="0"/>
                                              </p:stCondLst>
                                            </p:cTn>
                                            <p:tgtEl>
                                              <p:spTgt spid="67"/>
                                            </p:tgtEl>
                                            <p:attrNameLst>
                                              <p:attrName>style.visibility</p:attrName>
                                            </p:attrNameLst>
                                          </p:cBhvr>
                                          <p:to>
                                            <p:strVal val="visible"/>
                                          </p:to>
                                        </p:set>
                                        <p:animEffect transition="in" filter="fade">
                                          <p:cBhvr>
                                            <p:cTn id="69" dur="500"/>
                                            <p:tgtEl>
                                              <p:spTgt spid="67"/>
                                            </p:tgtEl>
                                          </p:cBhvr>
                                        </p:animEffect>
                                      </p:childTnLst>
                                    </p:cTn>
                                  </p:par>
                                  <p:par>
                                    <p:cTn id="70" presetID="64" presetClass="path" presetSubtype="0" fill="hold" grpId="1" nodeType="withEffect">
                                      <p:stCondLst>
                                        <p:cond delay="0"/>
                                      </p:stCondLst>
                                      <p:childTnLst>
                                        <p:animMotion origin="layout" path="M 4.79167E-6 3.7037E-7 L 4.79167E-6 -0.03125 " pathEditMode="relative" rAng="0" ptsTypes="AA">
                                          <p:cBhvr>
                                            <p:cTn id="71" dur="500" spd="-100000" fill="hold"/>
                                            <p:tgtEl>
                                              <p:spTgt spid="67"/>
                                            </p:tgtEl>
                                            <p:attrNameLst>
                                              <p:attrName>ppt_x</p:attrName>
                                              <p:attrName>ppt_y</p:attrName>
                                            </p:attrNameLst>
                                          </p:cBhvr>
                                          <p:rCtr x="0" y="-1574"/>
                                        </p:animMotion>
                                      </p:childTnLst>
                                    </p:cTn>
                                  </p:par>
                                  <p:par>
                                    <p:cTn id="72" presetID="10" presetClass="entr" presetSubtype="0" fill="hold" grpId="0" nodeType="withEffect">
                                      <p:stCondLst>
                                        <p:cond delay="100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par>
                                    <p:cTn id="75" presetID="42" presetClass="path" presetSubtype="0" decel="100000" fill="hold" grpId="1" nodeType="withEffect">
                                      <p:stCondLst>
                                        <p:cond delay="1000"/>
                                      </p:stCondLst>
                                      <p:childTnLst>
                                        <p:animMotion origin="layout" path="M 4.79167E-6 -0.03472 L 4.79167E-6 1.11111E-6 " pathEditMode="relative" rAng="0" ptsTypes="AA">
                                          <p:cBhvr>
                                            <p:cTn id="76" dur="500" fill="hold"/>
                                            <p:tgtEl>
                                              <p:spTgt spid="7"/>
                                            </p:tgtEl>
                                            <p:attrNameLst>
                                              <p:attrName>ppt_x</p:attrName>
                                              <p:attrName>ppt_y</p:attrName>
                                            </p:attrNameLst>
                                          </p:cBhvr>
                                          <p:rCtr x="0" y="1736"/>
                                        </p:animMotion>
                                      </p:childTnLst>
                                    </p:cTn>
                                  </p:par>
                                </p:childTnLst>
                              </p:cTn>
                            </p:par>
                            <p:par>
                              <p:cTn id="77" fill="hold">
                                <p:stCondLst>
                                  <p:cond delay="8000"/>
                                </p:stCondLst>
                                <p:childTnLst>
                                  <p:par>
                                    <p:cTn id="78" presetID="10" presetClass="entr" presetSubtype="0" fill="hold" grpId="0" nodeType="afterEffect">
                                      <p:stCondLst>
                                        <p:cond delay="0"/>
                                      </p:stCondLst>
                                      <p:childTnLst>
                                        <p:set>
                                          <p:cBhvr>
                                            <p:cTn id="79" dur="1" fill="hold">
                                              <p:stCondLst>
                                                <p:cond delay="0"/>
                                              </p:stCondLst>
                                            </p:cTn>
                                            <p:tgtEl>
                                              <p:spTgt spid="10"/>
                                            </p:tgtEl>
                                            <p:attrNameLst>
                                              <p:attrName>style.visibility</p:attrName>
                                            </p:attrNameLst>
                                          </p:cBhvr>
                                          <p:to>
                                            <p:strVal val="visible"/>
                                          </p:to>
                                        </p:set>
                                        <p:animEffect transition="in" filter="fade">
                                          <p:cBhvr>
                                            <p:cTn id="80" dur="500"/>
                                            <p:tgtEl>
                                              <p:spTgt spid="10"/>
                                            </p:tgtEl>
                                          </p:cBhvr>
                                        </p:animEffect>
                                      </p:childTnLst>
                                    </p:cTn>
                                  </p:par>
                                  <p:par>
                                    <p:cTn id="81" presetID="64" presetClass="path" presetSubtype="0" fill="hold" grpId="1" nodeType="withEffect">
                                      <p:stCondLst>
                                        <p:cond delay="0"/>
                                      </p:stCondLst>
                                      <p:childTnLst>
                                        <p:animMotion origin="layout" path="M 4.79167E-6 3.7037E-7 L 4.79167E-6 -0.03125 " pathEditMode="relative" rAng="0" ptsTypes="AA">
                                          <p:cBhvr>
                                            <p:cTn id="82" dur="500" spd="-100000" fill="hold"/>
                                            <p:tgtEl>
                                              <p:spTgt spid="10"/>
                                            </p:tgtEl>
                                            <p:attrNameLst>
                                              <p:attrName>ppt_x</p:attrName>
                                              <p:attrName>ppt_y</p:attrName>
                                            </p:attrNameLst>
                                          </p:cBhvr>
                                          <p:rCtr x="0" y="-1574"/>
                                        </p:animMotion>
                                      </p:childTnLst>
                                    </p:cTn>
                                  </p:par>
                                  <p:par>
                                    <p:cTn id="83" presetID="16" presetClass="entr" presetSubtype="42" fill="hold" nodeType="withEffect">
                                      <p:stCondLst>
                                        <p:cond delay="0"/>
                                      </p:stCondLst>
                                      <p:childTnLst>
                                        <p:set>
                                          <p:cBhvr>
                                            <p:cTn id="84" dur="1" fill="hold">
                                              <p:stCondLst>
                                                <p:cond delay="0"/>
                                              </p:stCondLst>
                                            </p:cTn>
                                            <p:tgtEl>
                                              <p:spTgt spid="14"/>
                                            </p:tgtEl>
                                            <p:attrNameLst>
                                              <p:attrName>style.visibility</p:attrName>
                                            </p:attrNameLst>
                                          </p:cBhvr>
                                          <p:to>
                                            <p:strVal val="visible"/>
                                          </p:to>
                                        </p:set>
                                        <p:animEffect transition="in" filter="barn(outHorizontal)">
                                          <p:cBhvr>
                                            <p:cTn id="85" dur="1000"/>
                                            <p:tgtEl>
                                              <p:spTgt spid="14"/>
                                            </p:tgtEl>
                                          </p:cBhvr>
                                        </p:animEffect>
                                      </p:childTnLst>
                                    </p:cTn>
                                  </p:par>
                                  <p:par>
                                    <p:cTn id="86" presetID="10" presetClass="entr" presetSubtype="0" fill="hold" grpId="0" nodeType="withEffect">
                                      <p:stCondLst>
                                        <p:cond delay="1000"/>
                                      </p:stCondLst>
                                      <p:childTnLst>
                                        <p:set>
                                          <p:cBhvr>
                                            <p:cTn id="87" dur="1" fill="hold">
                                              <p:stCondLst>
                                                <p:cond delay="0"/>
                                              </p:stCondLst>
                                            </p:cTn>
                                            <p:tgtEl>
                                              <p:spTgt spid="9"/>
                                            </p:tgtEl>
                                            <p:attrNameLst>
                                              <p:attrName>style.visibility</p:attrName>
                                            </p:attrNameLst>
                                          </p:cBhvr>
                                          <p:to>
                                            <p:strVal val="visible"/>
                                          </p:to>
                                        </p:set>
                                        <p:animEffect transition="in" filter="fade">
                                          <p:cBhvr>
                                            <p:cTn id="88" dur="500"/>
                                            <p:tgtEl>
                                              <p:spTgt spid="9"/>
                                            </p:tgtEl>
                                          </p:cBhvr>
                                        </p:animEffect>
                                      </p:childTnLst>
                                    </p:cTn>
                                  </p:par>
                                  <p:par>
                                    <p:cTn id="89" presetID="42" presetClass="path" presetSubtype="0" decel="100000" fill="hold" grpId="1" nodeType="withEffect">
                                      <p:stCondLst>
                                        <p:cond delay="1000"/>
                                      </p:stCondLst>
                                      <p:childTnLst>
                                        <p:animMotion origin="layout" path="M 4.79167E-6 -0.03472 L 4.79167E-6 1.11111E-6 " pathEditMode="relative" rAng="0" ptsTypes="AA">
                                          <p:cBhvr>
                                            <p:cTn id="90" dur="500" fill="hold"/>
                                            <p:tgtEl>
                                              <p:spTgt spid="9"/>
                                            </p:tgtEl>
                                            <p:attrNameLst>
                                              <p:attrName>ppt_x</p:attrName>
                                              <p:attrName>ppt_y</p:attrName>
                                            </p:attrNameLst>
                                          </p:cBhvr>
                                          <p:rCtr x="0" y="1736"/>
                                        </p:animMotion>
                                      </p:childTnLst>
                                    </p:cTn>
                                  </p:par>
                                </p:childTnLst>
                              </p:cTn>
                            </p:par>
                            <p:par>
                              <p:cTn id="91" fill="hold">
                                <p:stCondLst>
                                  <p:cond delay="9500"/>
                                </p:stCondLst>
                                <p:childTnLst>
                                  <p:par>
                                    <p:cTn id="92" presetID="10" presetClass="entr" presetSubtype="0" fill="hold" grpId="0" nodeType="afterEffect">
                                      <p:stCondLst>
                                        <p:cond delay="0"/>
                                      </p:stCondLst>
                                      <p:childTnLst>
                                        <p:set>
                                          <p:cBhvr>
                                            <p:cTn id="93" dur="1" fill="hold">
                                              <p:stCondLst>
                                                <p:cond delay="0"/>
                                              </p:stCondLst>
                                            </p:cTn>
                                            <p:tgtEl>
                                              <p:spTgt spid="11"/>
                                            </p:tgtEl>
                                            <p:attrNameLst>
                                              <p:attrName>style.visibility</p:attrName>
                                            </p:attrNameLst>
                                          </p:cBhvr>
                                          <p:to>
                                            <p:strVal val="visible"/>
                                          </p:to>
                                        </p:set>
                                        <p:animEffect transition="in" filter="fade">
                                          <p:cBhvr>
                                            <p:cTn id="94" dur="500"/>
                                            <p:tgtEl>
                                              <p:spTgt spid="11"/>
                                            </p:tgtEl>
                                          </p:cBhvr>
                                        </p:animEffect>
                                      </p:childTnLst>
                                    </p:cTn>
                                  </p:par>
                                  <p:par>
                                    <p:cTn id="95" presetID="64" presetClass="path" presetSubtype="0" fill="hold" grpId="1" nodeType="withEffect">
                                      <p:stCondLst>
                                        <p:cond delay="0"/>
                                      </p:stCondLst>
                                      <p:childTnLst>
                                        <p:animMotion origin="layout" path="M 4.79167E-6 3.7037E-7 L 4.79167E-6 -0.03125 " pathEditMode="relative" rAng="0" ptsTypes="AA">
                                          <p:cBhvr>
                                            <p:cTn id="96" dur="500" spd="-100000" fill="hold"/>
                                            <p:tgtEl>
                                              <p:spTgt spid="11"/>
                                            </p:tgtEl>
                                            <p:attrNameLst>
                                              <p:attrName>ppt_x</p:attrName>
                                              <p:attrName>ppt_y</p:attrName>
                                            </p:attrNameLst>
                                          </p:cBhvr>
                                          <p:rCtr x="0" y="-1574"/>
                                        </p:animMotion>
                                      </p:childTnLst>
                                    </p:cTn>
                                  </p:par>
                                  <p:par>
                                    <p:cTn id="97" presetID="10" presetClass="entr" presetSubtype="0" fill="hold" grpId="0" nodeType="withEffect">
                                      <p:stCondLst>
                                        <p:cond delay="1000"/>
                                      </p:stCondLst>
                                      <p:childTnLst>
                                        <p:set>
                                          <p:cBhvr>
                                            <p:cTn id="98" dur="1" fill="hold">
                                              <p:stCondLst>
                                                <p:cond delay="0"/>
                                              </p:stCondLst>
                                            </p:cTn>
                                            <p:tgtEl>
                                              <p:spTgt spid="12"/>
                                            </p:tgtEl>
                                            <p:attrNameLst>
                                              <p:attrName>style.visibility</p:attrName>
                                            </p:attrNameLst>
                                          </p:cBhvr>
                                          <p:to>
                                            <p:strVal val="visible"/>
                                          </p:to>
                                        </p:set>
                                        <p:animEffect transition="in" filter="fade">
                                          <p:cBhvr>
                                            <p:cTn id="99" dur="500"/>
                                            <p:tgtEl>
                                              <p:spTgt spid="12"/>
                                            </p:tgtEl>
                                          </p:cBhvr>
                                        </p:animEffect>
                                      </p:childTnLst>
                                    </p:cTn>
                                  </p:par>
                                  <p:par>
                                    <p:cTn id="100" presetID="42" presetClass="path" presetSubtype="0" decel="100000" fill="hold" grpId="1" nodeType="withEffect">
                                      <p:stCondLst>
                                        <p:cond delay="1000"/>
                                      </p:stCondLst>
                                      <p:childTnLst>
                                        <p:animMotion origin="layout" path="M 2.29167E-6 -0.03472 L 2.29167E-6 -2.59259E-6 " pathEditMode="relative" rAng="0" ptsTypes="AA">
                                          <p:cBhvr>
                                            <p:cTn id="101" dur="500" fill="hold"/>
                                            <p:tgtEl>
                                              <p:spTgt spid="12"/>
                                            </p:tgtEl>
                                            <p:attrNameLst>
                                              <p:attrName>ppt_x</p:attrName>
                                              <p:attrName>ppt_y</p:attrName>
                                            </p:attrNameLst>
                                          </p:cBhvr>
                                          <p:rCtr x="0" y="1736"/>
                                        </p:animMotion>
                                      </p:childTnLst>
                                    </p:cTn>
                                  </p:par>
                                </p:childTnLst>
                              </p:cTn>
                            </p:par>
                            <p:par>
                              <p:cTn id="102" fill="hold">
                                <p:stCondLst>
                                  <p:cond delay="11000"/>
                                </p:stCondLst>
                                <p:childTnLst>
                                  <p:par>
                                    <p:cTn id="103" presetID="10" presetClass="entr" presetSubtype="0" fill="hold" grpId="0" nodeType="afterEffect">
                                      <p:stCondLst>
                                        <p:cond delay="0"/>
                                      </p:stCondLst>
                                      <p:childTnLst>
                                        <p:set>
                                          <p:cBhvr>
                                            <p:cTn id="104" dur="1" fill="hold">
                                              <p:stCondLst>
                                                <p:cond delay="0"/>
                                              </p:stCondLst>
                                            </p:cTn>
                                            <p:tgtEl>
                                              <p:spTgt spid="13"/>
                                            </p:tgtEl>
                                            <p:attrNameLst>
                                              <p:attrName>style.visibility</p:attrName>
                                            </p:attrNameLst>
                                          </p:cBhvr>
                                          <p:to>
                                            <p:strVal val="visible"/>
                                          </p:to>
                                        </p:set>
                                        <p:animEffect transition="in" filter="fade">
                                          <p:cBhvr>
                                            <p:cTn id="105" dur="500"/>
                                            <p:tgtEl>
                                              <p:spTgt spid="13"/>
                                            </p:tgtEl>
                                          </p:cBhvr>
                                        </p:animEffect>
                                      </p:childTnLst>
                                    </p:cTn>
                                  </p:par>
                                  <p:par>
                                    <p:cTn id="106" presetID="64" presetClass="path" presetSubtype="0" fill="hold" grpId="1" nodeType="withEffect">
                                      <p:stCondLst>
                                        <p:cond delay="0"/>
                                      </p:stCondLst>
                                      <p:childTnLst>
                                        <p:animMotion origin="layout" path="M 2.29167E-6 1.85185E-6 L 2.29167E-6 -0.03125 " pathEditMode="relative" rAng="0" ptsTypes="AA">
                                          <p:cBhvr>
                                            <p:cTn id="107" dur="500" spd="-100000" fill="hold"/>
                                            <p:tgtEl>
                                              <p:spTgt spid="13"/>
                                            </p:tgtEl>
                                            <p:attrNameLst>
                                              <p:attrName>ppt_x</p:attrName>
                                              <p:attrName>ppt_y</p:attrName>
                                            </p:attrNameLst>
                                          </p:cBhvr>
                                          <p:rCtr x="0" y="-1574"/>
                                        </p:animMotion>
                                      </p:childTnLst>
                                    </p:cTn>
                                  </p:par>
                                  <p:par>
                                    <p:cTn id="108" presetID="10" presetClass="entr" presetSubtype="0" fill="hold" grpId="0" nodeType="withEffect">
                                      <p:stCondLst>
                                        <p:cond delay="1000"/>
                                      </p:stCondLst>
                                      <p:childTnLst>
                                        <p:set>
                                          <p:cBhvr>
                                            <p:cTn id="109" dur="1" fill="hold">
                                              <p:stCondLst>
                                                <p:cond delay="0"/>
                                              </p:stCondLst>
                                            </p:cTn>
                                            <p:tgtEl>
                                              <p:spTgt spid="68"/>
                                            </p:tgtEl>
                                            <p:attrNameLst>
                                              <p:attrName>style.visibility</p:attrName>
                                            </p:attrNameLst>
                                          </p:cBhvr>
                                          <p:to>
                                            <p:strVal val="visible"/>
                                          </p:to>
                                        </p:set>
                                        <p:animEffect transition="in" filter="fade">
                                          <p:cBhvr>
                                            <p:cTn id="110" dur="500"/>
                                            <p:tgtEl>
                                              <p:spTgt spid="68"/>
                                            </p:tgtEl>
                                          </p:cBhvr>
                                        </p:animEffect>
                                      </p:childTnLst>
                                    </p:cTn>
                                  </p:par>
                                  <p:par>
                                    <p:cTn id="111" presetID="42" presetClass="path" presetSubtype="0" decel="100000" fill="hold" grpId="1" nodeType="withEffect">
                                      <p:stCondLst>
                                        <p:cond delay="1000"/>
                                      </p:stCondLst>
                                      <p:childTnLst>
                                        <p:animMotion origin="layout" path="M 2.29167E-6 -0.03473 L 2.29167E-6 4.81481E-6 " pathEditMode="relative" rAng="0" ptsTypes="AA">
                                          <p:cBhvr>
                                            <p:cTn id="112" dur="500" fill="hold"/>
                                            <p:tgtEl>
                                              <p:spTgt spid="68"/>
                                            </p:tgtEl>
                                            <p:attrNameLst>
                                              <p:attrName>ppt_x</p:attrName>
                                              <p:attrName>ppt_y</p:attrName>
                                            </p:attrNameLst>
                                          </p:cBhvr>
                                          <p:rCtr x="0" y="1736"/>
                                        </p:animMotion>
                                      </p:childTnLst>
                                    </p:cTn>
                                  </p:par>
                                </p:childTnLst>
                              </p:cTn>
                            </p:par>
                            <p:par>
                              <p:cTn id="113" fill="hold">
                                <p:stCondLst>
                                  <p:cond delay="12500"/>
                                </p:stCondLst>
                                <p:childTnLst>
                                  <p:par>
                                    <p:cTn id="114" presetID="10" presetClass="entr" presetSubtype="0" fill="hold" grpId="0" nodeType="afterEffect">
                                      <p:stCondLst>
                                        <p:cond delay="0"/>
                                      </p:stCondLst>
                                      <p:childTnLst>
                                        <p:set>
                                          <p:cBhvr>
                                            <p:cTn id="115" dur="1" fill="hold">
                                              <p:stCondLst>
                                                <p:cond delay="0"/>
                                              </p:stCondLst>
                                            </p:cTn>
                                            <p:tgtEl>
                                              <p:spTgt spid="69"/>
                                            </p:tgtEl>
                                            <p:attrNameLst>
                                              <p:attrName>style.visibility</p:attrName>
                                            </p:attrNameLst>
                                          </p:cBhvr>
                                          <p:to>
                                            <p:strVal val="visible"/>
                                          </p:to>
                                        </p:set>
                                        <p:animEffect transition="in" filter="fade">
                                          <p:cBhvr>
                                            <p:cTn id="116" dur="500"/>
                                            <p:tgtEl>
                                              <p:spTgt spid="69"/>
                                            </p:tgtEl>
                                          </p:cBhvr>
                                        </p:animEffect>
                                      </p:childTnLst>
                                    </p:cTn>
                                  </p:par>
                                  <p:par>
                                    <p:cTn id="117" presetID="64" presetClass="path" presetSubtype="0" fill="hold" grpId="1" nodeType="withEffect">
                                      <p:stCondLst>
                                        <p:cond delay="0"/>
                                      </p:stCondLst>
                                      <p:childTnLst>
                                        <p:animMotion origin="layout" path="M 2.29167E-6 3.7037E-6 L 2.29167E-6 -0.03125 " pathEditMode="relative" rAng="0" ptsTypes="AA">
                                          <p:cBhvr>
                                            <p:cTn id="118" dur="500" spd="-100000" fill="hold"/>
                                            <p:tgtEl>
                                              <p:spTgt spid="69"/>
                                            </p:tgtEl>
                                            <p:attrNameLst>
                                              <p:attrName>ppt_x</p:attrName>
                                              <p:attrName>ppt_y</p:attrName>
                                            </p:attrNameLst>
                                          </p:cBhvr>
                                          <p:rCtr x="0" y="-1574"/>
                                        </p:animMotion>
                                      </p:childTnLst>
                                    </p:cTn>
                                  </p:par>
                                  <p:par>
                                    <p:cTn id="119" presetID="10" presetClass="entr" presetSubtype="0" fill="hold" grpId="0" nodeType="withEffect">
                                      <p:stCondLst>
                                        <p:cond delay="1000"/>
                                      </p:stCondLst>
                                      <p:childTnLst>
                                        <p:set>
                                          <p:cBhvr>
                                            <p:cTn id="120" dur="1" fill="hold">
                                              <p:stCondLst>
                                                <p:cond delay="0"/>
                                              </p:stCondLst>
                                            </p:cTn>
                                            <p:tgtEl>
                                              <p:spTgt spid="3"/>
                                            </p:tgtEl>
                                            <p:attrNameLst>
                                              <p:attrName>style.visibility</p:attrName>
                                            </p:attrNameLst>
                                          </p:cBhvr>
                                          <p:to>
                                            <p:strVal val="visible"/>
                                          </p:to>
                                        </p:set>
                                        <p:animEffect transition="in" filter="fade">
                                          <p:cBhvr>
                                            <p:cTn id="121" dur="500"/>
                                            <p:tgtEl>
                                              <p:spTgt spid="3"/>
                                            </p:tgtEl>
                                          </p:cBhvr>
                                        </p:animEffect>
                                      </p:childTnLst>
                                    </p:cTn>
                                  </p:par>
                                  <p:par>
                                    <p:cTn id="122" presetID="42" presetClass="path" presetSubtype="0" decel="100000" fill="hold" grpId="1" nodeType="withEffect">
                                      <p:stCondLst>
                                        <p:cond delay="1000"/>
                                      </p:stCondLst>
                                      <p:childTnLst>
                                        <p:animMotion origin="layout" path="M 2.29167E-6 -0.03472 L 2.29167E-6 2.59259E-6 " pathEditMode="relative" rAng="0" ptsTypes="AA">
                                          <p:cBhvr>
                                            <p:cTn id="123" dur="500" fill="hold"/>
                                            <p:tgtEl>
                                              <p:spTgt spid="3"/>
                                            </p:tgtEl>
                                            <p:attrNameLst>
                                              <p:attrName>ppt_x</p:attrName>
                                              <p:attrName>ppt_y</p:attrName>
                                            </p:attrNameLst>
                                          </p:cBhvr>
                                          <p:rCtr x="0" y="1736"/>
                                        </p:animMotion>
                                      </p:childTnLst>
                                    </p:cTn>
                                  </p:par>
                                </p:childTnLst>
                              </p:cTn>
                            </p:par>
                            <p:par>
                              <p:cTn id="124" fill="hold">
                                <p:stCondLst>
                                  <p:cond delay="14000"/>
                                </p:stCondLst>
                                <p:childTnLst>
                                  <p:par>
                                    <p:cTn id="125" presetID="10" presetClass="entr" presetSubtype="0" fill="hold" grpId="0" nodeType="afterEffect">
                                      <p:stCondLst>
                                        <p:cond delay="0"/>
                                      </p:stCondLst>
                                      <p:childTnLst>
                                        <p:set>
                                          <p:cBhvr>
                                            <p:cTn id="126" dur="1" fill="hold">
                                              <p:stCondLst>
                                                <p:cond delay="0"/>
                                              </p:stCondLst>
                                            </p:cTn>
                                            <p:tgtEl>
                                              <p:spTgt spid="4"/>
                                            </p:tgtEl>
                                            <p:attrNameLst>
                                              <p:attrName>style.visibility</p:attrName>
                                            </p:attrNameLst>
                                          </p:cBhvr>
                                          <p:to>
                                            <p:strVal val="visible"/>
                                          </p:to>
                                        </p:set>
                                        <p:animEffect transition="in" filter="fade">
                                          <p:cBhvr>
                                            <p:cTn id="127" dur="500"/>
                                            <p:tgtEl>
                                              <p:spTgt spid="4"/>
                                            </p:tgtEl>
                                          </p:cBhvr>
                                        </p:animEffect>
                                      </p:childTnLst>
                                    </p:cTn>
                                  </p:par>
                                  <p:par>
                                    <p:cTn id="128" presetID="64" presetClass="path" presetSubtype="0" fill="hold" grpId="1" nodeType="withEffect">
                                      <p:stCondLst>
                                        <p:cond delay="0"/>
                                      </p:stCondLst>
                                      <p:childTnLst>
                                        <p:animMotion origin="layout" path="M 2.29167E-6 1.48148E-6 L 2.29167E-6 -0.03125 " pathEditMode="relative" rAng="0" ptsTypes="AA">
                                          <p:cBhvr>
                                            <p:cTn id="129" dur="500" spd="-100000" fill="hold"/>
                                            <p:tgtEl>
                                              <p:spTgt spid="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P spid="18" grpId="0" animBg="1"/>
          <p:bldP spid="29" grpId="0"/>
          <p:bldP spid="10" grpId="0"/>
          <p:bldP spid="10" grpId="1"/>
          <p:bldP spid="67" grpId="0"/>
          <p:bldP spid="67" grpId="1"/>
          <p:bldP spid="26" grpId="0"/>
          <p:bldP spid="26" grpId="1"/>
          <p:bldP spid="59" grpId="0"/>
          <p:bldP spid="59" grpId="1"/>
          <p:bldP spid="8" grpId="0"/>
          <p:bldP spid="8" grpId="1"/>
          <p:bldP spid="69" grpId="0"/>
          <p:bldP spid="69" grpId="1"/>
          <p:bldP spid="4" grpId="0"/>
          <p:bldP spid="4" grpId="1"/>
          <p:bldP spid="11" grpId="0"/>
          <p:bldP spid="11" grpId="1"/>
          <p:bldP spid="13" grpId="0"/>
          <p:bldP spid="13" grpId="1"/>
          <p:bldP spid="55" grpId="0" animBg="1"/>
          <p:bldP spid="55" grpId="1" animBg="1"/>
          <p:bldP spid="7" grpId="0" animBg="1"/>
          <p:bldP spid="7" grpId="1" animBg="1"/>
          <p:bldP spid="54" grpId="0" animBg="1"/>
          <p:bldP spid="54" grpId="1" animBg="1"/>
          <p:bldP spid="58" grpId="0" animBg="1"/>
          <p:bldP spid="58" grpId="1" animBg="1"/>
          <p:bldP spid="6" grpId="0" animBg="1"/>
          <p:bldP spid="6" grpId="1" animBg="1"/>
          <p:bldP spid="68" grpId="0" animBg="1"/>
          <p:bldP spid="68" grpId="1" animBg="1"/>
          <p:bldP spid="3" grpId="0" animBg="1"/>
          <p:bldP spid="3" grpId="1" animBg="1"/>
          <p:bldP spid="9" grpId="0" animBg="1"/>
          <p:bldP spid="9" grpId="1" animBg="1"/>
          <p:bldP spid="12" grpId="0" animBg="1"/>
          <p:bldP spid="12"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0.01719 -0.00023 L 0 2.59259E-6 " pathEditMode="relative" rAng="0" ptsTypes="AA">
                                          <p:cBhvr>
                                            <p:cTn id="9" dur="500" fill="hold"/>
                                            <p:tgtEl>
                                              <p:spTgt spid="56"/>
                                            </p:tgtEl>
                                            <p:attrNameLst>
                                              <p:attrName>ppt_x</p:attrName>
                                              <p:attrName>ppt_y</p:attrName>
                                            </p:attrNameLst>
                                          </p:cBhvr>
                                          <p:rCtr x="859" y="0"/>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23" presetClass="entr" presetSubtype="16" fill="hold" nodeType="withEffect">
                                      <p:stCondLst>
                                        <p:cond delay="0"/>
                                      </p:stCondLst>
                                      <p:childTnLst>
                                        <p:set>
                                          <p:cBhvr>
                                            <p:cTn id="15" dur="1" fill="hold">
                                              <p:stCondLst>
                                                <p:cond delay="0"/>
                                              </p:stCondLst>
                                            </p:cTn>
                                            <p:tgtEl>
                                              <p:spTgt spid="79"/>
                                            </p:tgtEl>
                                            <p:attrNameLst>
                                              <p:attrName>style.visibility</p:attrName>
                                            </p:attrNameLst>
                                          </p:cBhvr>
                                          <p:to>
                                            <p:strVal val="visible"/>
                                          </p:to>
                                        </p:set>
                                        <p:anim calcmode="lin" valueType="num">
                                          <p:cBhvr>
                                            <p:cTn id="16" dur="200" fill="hold"/>
                                            <p:tgtEl>
                                              <p:spTgt spid="79"/>
                                            </p:tgtEl>
                                            <p:attrNameLst>
                                              <p:attrName>ppt_w</p:attrName>
                                            </p:attrNameLst>
                                          </p:cBhvr>
                                          <p:tavLst>
                                            <p:tav tm="0">
                                              <p:val>
                                                <p:fltVal val="0"/>
                                              </p:val>
                                            </p:tav>
                                            <p:tav tm="100000">
                                              <p:val>
                                                <p:strVal val="#ppt_w"/>
                                              </p:val>
                                            </p:tav>
                                          </p:tavLst>
                                        </p:anim>
                                        <p:anim calcmode="lin" valueType="num">
                                          <p:cBhvr>
                                            <p:cTn id="17" dur="200" fill="hold"/>
                                            <p:tgtEl>
                                              <p:spTgt spid="79"/>
                                            </p:tgtEl>
                                            <p:attrNameLst>
                                              <p:attrName>ppt_h</p:attrName>
                                            </p:attrNameLst>
                                          </p:cBhvr>
                                          <p:tavLst>
                                            <p:tav tm="0">
                                              <p:val>
                                                <p:fltVal val="0"/>
                                              </p:val>
                                            </p:tav>
                                            <p:tav tm="100000">
                                              <p:val>
                                                <p:strVal val="#ppt_h"/>
                                              </p:val>
                                            </p:tav>
                                          </p:tavLst>
                                        </p:anim>
                                      </p:childTnLst>
                                    </p:cTn>
                                  </p:par>
                                  <p:par>
                                    <p:cTn id="18" presetID="6" presetClass="emph" presetSubtype="0" fill="hold" nodeType="withEffect">
                                      <p:stCondLst>
                                        <p:cond delay="0"/>
                                      </p:stCondLst>
                                      <p:childTnLst>
                                        <p:animScale>
                                          <p:cBhvr>
                                            <p:cTn id="19" dur="1000" fill="hold"/>
                                            <p:tgtEl>
                                              <p:spTgt spid="79"/>
                                            </p:tgtEl>
                                          </p:cBhvr>
                                          <p:by x="110000" y="110000"/>
                                        </p:animScale>
                                      </p:childTnLst>
                                    </p:cTn>
                                  </p:par>
                                  <p:par>
                                    <p:cTn id="20" presetID="6" presetClass="emph" presetSubtype="0" accel="50000" decel="50000" fill="hold" nodeType="withEffect">
                                      <p:stCondLst>
                                        <p:cond delay="0"/>
                                      </p:stCondLst>
                                      <p:childTnLst>
                                        <p:animScale>
                                          <p:cBhvr>
                                            <p:cTn id="21" dur="250" fill="hold"/>
                                            <p:tgtEl>
                                              <p:spTgt spid="79"/>
                                            </p:tgtEl>
                                          </p:cBhvr>
                                          <p:by x="91000" y="91000"/>
                                        </p:animScale>
                                      </p:childTnLst>
                                    </p:cTn>
                                  </p:par>
                                  <p:par>
                                    <p:cTn id="22" presetID="10" presetClass="entr" presetSubtype="0" fill="hold" grpId="0" nodeType="withEffect">
                                      <p:stCondLst>
                                        <p:cond delay="25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42" presetClass="path" presetSubtype="0" decel="100000" fill="hold" grpId="1" nodeType="withEffect">
                                      <p:stCondLst>
                                        <p:cond delay="1000"/>
                                      </p:stCondLst>
                                      <p:childTnLst>
                                        <p:animMotion origin="layout" path="M 4.79167E-6 -0.03472 L 4.79167E-6 1.11111E-6 " pathEditMode="relative" rAng="0" ptsTypes="AA">
                                          <p:cBhvr>
                                            <p:cTn id="29" dur="500" fill="hold"/>
                                            <p:tgtEl>
                                              <p:spTgt spid="54"/>
                                            </p:tgtEl>
                                            <p:attrNameLst>
                                              <p:attrName>ppt_x</p:attrName>
                                              <p:attrName>ppt_y</p:attrName>
                                            </p:attrNameLst>
                                          </p:cBhvr>
                                          <p:rCtr x="0" y="1736"/>
                                        </p:animMotion>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4" presetClass="path" presetSubtype="0" fill="hold" grpId="1" nodeType="withEffect">
                                      <p:stCondLst>
                                        <p:cond delay="0"/>
                                      </p:stCondLst>
                                      <p:childTnLst>
                                        <p:animMotion origin="layout" path="M 4.79167E-6 3.7037E-7 L 4.79167E-6 -0.03125 " pathEditMode="relative" rAng="0" ptsTypes="AA">
                                          <p:cBhvr>
                                            <p:cTn id="35" dur="500" spd="-100000" fill="hold"/>
                                            <p:tgtEl>
                                              <p:spTgt spid="26"/>
                                            </p:tgtEl>
                                            <p:attrNameLst>
                                              <p:attrName>ppt_x</p:attrName>
                                              <p:attrName>ppt_y</p:attrName>
                                            </p:attrNameLst>
                                          </p:cBhvr>
                                          <p:rCtr x="0" y="-1574"/>
                                        </p:animMotion>
                                      </p:childTnLst>
                                    </p:cTn>
                                  </p:par>
                                  <p:par>
                                    <p:cTn id="36" presetID="10" presetClass="entr" presetSubtype="0" fill="hold" grpId="0" nodeType="withEffect">
                                      <p:stCondLst>
                                        <p:cond delay="100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42" presetClass="path" presetSubtype="0" decel="100000" fill="hold" grpId="1" nodeType="withEffect">
                                      <p:stCondLst>
                                        <p:cond delay="1000"/>
                                      </p:stCondLst>
                                      <p:childTnLst>
                                        <p:animMotion origin="layout" path="M 4.79167E-6 -0.03472 L 4.79167E-6 1.11111E-6 " pathEditMode="relative" rAng="0" ptsTypes="AA">
                                          <p:cBhvr>
                                            <p:cTn id="40" dur="500" fill="hold"/>
                                            <p:tgtEl>
                                              <p:spTgt spid="6"/>
                                            </p:tgtEl>
                                            <p:attrNameLst>
                                              <p:attrName>ppt_x</p:attrName>
                                              <p:attrName>ppt_y</p:attrName>
                                            </p:attrNameLst>
                                          </p:cBhvr>
                                          <p:rCtr x="0" y="1736"/>
                                        </p:animMotion>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64" presetClass="path" presetSubtype="0" fill="hold" grpId="1" nodeType="withEffect">
                                      <p:stCondLst>
                                        <p:cond delay="0"/>
                                      </p:stCondLst>
                                      <p:childTnLst>
                                        <p:animMotion origin="layout" path="M 4.79167E-6 3.7037E-7 L 4.79167E-6 -0.03125 " pathEditMode="relative" rAng="0" ptsTypes="AA">
                                          <p:cBhvr>
                                            <p:cTn id="46" dur="500" spd="-100000" fill="hold"/>
                                            <p:tgtEl>
                                              <p:spTgt spid="8"/>
                                            </p:tgtEl>
                                            <p:attrNameLst>
                                              <p:attrName>ppt_x</p:attrName>
                                              <p:attrName>ppt_y</p:attrName>
                                            </p:attrNameLst>
                                          </p:cBhvr>
                                          <p:rCtr x="0" y="-1574"/>
                                        </p:animMotion>
                                      </p:childTnLst>
                                    </p:cTn>
                                  </p:par>
                                  <p:par>
                                    <p:cTn id="47" presetID="10" presetClass="entr" presetSubtype="0" fill="hold" grpId="0" nodeType="withEffect">
                                      <p:stCondLst>
                                        <p:cond delay="1000"/>
                                      </p:stCondLst>
                                      <p:childTnLst>
                                        <p:set>
                                          <p:cBhvr>
                                            <p:cTn id="48" dur="1" fill="hold">
                                              <p:stCondLst>
                                                <p:cond delay="0"/>
                                              </p:stCondLst>
                                            </p:cTn>
                                            <p:tgtEl>
                                              <p:spTgt spid="58"/>
                                            </p:tgtEl>
                                            <p:attrNameLst>
                                              <p:attrName>style.visibility</p:attrName>
                                            </p:attrNameLst>
                                          </p:cBhvr>
                                          <p:to>
                                            <p:strVal val="visible"/>
                                          </p:to>
                                        </p:set>
                                        <p:animEffect transition="in" filter="fade">
                                          <p:cBhvr>
                                            <p:cTn id="49" dur="500"/>
                                            <p:tgtEl>
                                              <p:spTgt spid="58"/>
                                            </p:tgtEl>
                                          </p:cBhvr>
                                        </p:animEffect>
                                      </p:childTnLst>
                                    </p:cTn>
                                  </p:par>
                                  <p:par>
                                    <p:cTn id="50" presetID="42" presetClass="path" presetSubtype="0" decel="100000" fill="hold" grpId="1" nodeType="withEffect">
                                      <p:stCondLst>
                                        <p:cond delay="1000"/>
                                      </p:stCondLst>
                                      <p:childTnLst>
                                        <p:animMotion origin="layout" path="M 4.79167E-6 -0.03472 L 4.79167E-6 1.11111E-6 " pathEditMode="relative" rAng="0" ptsTypes="AA">
                                          <p:cBhvr>
                                            <p:cTn id="51" dur="500" fill="hold"/>
                                            <p:tgtEl>
                                              <p:spTgt spid="58"/>
                                            </p:tgtEl>
                                            <p:attrNameLst>
                                              <p:attrName>ppt_x</p:attrName>
                                              <p:attrName>ppt_y</p:attrName>
                                            </p:attrNameLst>
                                          </p:cBhvr>
                                          <p:rCtr x="0" y="1736"/>
                                        </p:animMotion>
                                      </p:childTnLst>
                                    </p:cTn>
                                  </p:par>
                                </p:childTnLst>
                              </p:cTn>
                            </p:par>
                            <p:par>
                              <p:cTn id="52" fill="hold">
                                <p:stCondLst>
                                  <p:cond delay="5000"/>
                                </p:stCondLst>
                                <p:childTnLst>
                                  <p:par>
                                    <p:cTn id="53" presetID="10" presetClass="entr" presetSubtype="0" fill="hold" grpId="0" nodeType="after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500"/>
                                            <p:tgtEl>
                                              <p:spTgt spid="59"/>
                                            </p:tgtEl>
                                          </p:cBhvr>
                                        </p:animEffect>
                                      </p:childTnLst>
                                    </p:cTn>
                                  </p:par>
                                  <p:par>
                                    <p:cTn id="56" presetID="64" presetClass="path" presetSubtype="0" fill="hold" grpId="1" nodeType="withEffect">
                                      <p:stCondLst>
                                        <p:cond delay="0"/>
                                      </p:stCondLst>
                                      <p:childTnLst>
                                        <p:animMotion origin="layout" path="M 4.79167E-6 3.7037E-7 L 4.79167E-6 -0.03125 " pathEditMode="relative" rAng="0" ptsTypes="AA">
                                          <p:cBhvr>
                                            <p:cTn id="57" dur="500" spd="-100000" fill="hold"/>
                                            <p:tgtEl>
                                              <p:spTgt spid="59"/>
                                            </p:tgtEl>
                                            <p:attrNameLst>
                                              <p:attrName>ppt_x</p:attrName>
                                              <p:attrName>ppt_y</p:attrName>
                                            </p:attrNameLst>
                                          </p:cBhvr>
                                          <p:rCtr x="0" y="-1574"/>
                                        </p:animMotion>
                                      </p:childTnLst>
                                    </p:cTn>
                                  </p:par>
                                  <p:par>
                                    <p:cTn id="58" presetID="16" presetClass="entr" presetSubtype="42" fill="hold"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barn(outHorizontal)">
                                          <p:cBhvr>
                                            <p:cTn id="60" dur="1000"/>
                                            <p:tgtEl>
                                              <p:spTgt spid="76"/>
                                            </p:tgtEl>
                                          </p:cBhvr>
                                        </p:animEffect>
                                      </p:childTnLst>
                                    </p:cTn>
                                  </p:par>
                                  <p:par>
                                    <p:cTn id="61" presetID="10" presetClass="entr" presetSubtype="0" fill="hold" grpId="0" nodeType="withEffect">
                                      <p:stCondLst>
                                        <p:cond delay="100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42" presetClass="path" presetSubtype="0" decel="100000" fill="hold" grpId="1" nodeType="withEffect">
                                      <p:stCondLst>
                                        <p:cond delay="1000"/>
                                      </p:stCondLst>
                                      <p:childTnLst>
                                        <p:animMotion origin="layout" path="M 4.79167E-6 -0.03472 L 4.79167E-6 1.11111E-6 " pathEditMode="relative" rAng="0" ptsTypes="AA">
                                          <p:cBhvr>
                                            <p:cTn id="65" dur="500" fill="hold"/>
                                            <p:tgtEl>
                                              <p:spTgt spid="55"/>
                                            </p:tgtEl>
                                            <p:attrNameLst>
                                              <p:attrName>ppt_x</p:attrName>
                                              <p:attrName>ppt_y</p:attrName>
                                            </p:attrNameLst>
                                          </p:cBhvr>
                                          <p:rCtr x="0" y="1736"/>
                                        </p:animMotion>
                                      </p:childTnLst>
                                    </p:cTn>
                                  </p:par>
                                </p:childTnLst>
                              </p:cTn>
                            </p:par>
                            <p:par>
                              <p:cTn id="66" fill="hold">
                                <p:stCondLst>
                                  <p:cond delay="6500"/>
                                </p:stCondLst>
                                <p:childTnLst>
                                  <p:par>
                                    <p:cTn id="67" presetID="10" presetClass="entr" presetSubtype="0" fill="hold" grpId="0" nodeType="afterEffect">
                                      <p:stCondLst>
                                        <p:cond delay="0"/>
                                      </p:stCondLst>
                                      <p:childTnLst>
                                        <p:set>
                                          <p:cBhvr>
                                            <p:cTn id="68" dur="1" fill="hold">
                                              <p:stCondLst>
                                                <p:cond delay="0"/>
                                              </p:stCondLst>
                                            </p:cTn>
                                            <p:tgtEl>
                                              <p:spTgt spid="67"/>
                                            </p:tgtEl>
                                            <p:attrNameLst>
                                              <p:attrName>style.visibility</p:attrName>
                                            </p:attrNameLst>
                                          </p:cBhvr>
                                          <p:to>
                                            <p:strVal val="visible"/>
                                          </p:to>
                                        </p:set>
                                        <p:animEffect transition="in" filter="fade">
                                          <p:cBhvr>
                                            <p:cTn id="69" dur="500"/>
                                            <p:tgtEl>
                                              <p:spTgt spid="67"/>
                                            </p:tgtEl>
                                          </p:cBhvr>
                                        </p:animEffect>
                                      </p:childTnLst>
                                    </p:cTn>
                                  </p:par>
                                  <p:par>
                                    <p:cTn id="70" presetID="64" presetClass="path" presetSubtype="0" fill="hold" grpId="1" nodeType="withEffect">
                                      <p:stCondLst>
                                        <p:cond delay="0"/>
                                      </p:stCondLst>
                                      <p:childTnLst>
                                        <p:animMotion origin="layout" path="M 4.79167E-6 3.7037E-7 L 4.79167E-6 -0.03125 " pathEditMode="relative" rAng="0" ptsTypes="AA">
                                          <p:cBhvr>
                                            <p:cTn id="71" dur="500" spd="-100000" fill="hold"/>
                                            <p:tgtEl>
                                              <p:spTgt spid="67"/>
                                            </p:tgtEl>
                                            <p:attrNameLst>
                                              <p:attrName>ppt_x</p:attrName>
                                              <p:attrName>ppt_y</p:attrName>
                                            </p:attrNameLst>
                                          </p:cBhvr>
                                          <p:rCtr x="0" y="-1574"/>
                                        </p:animMotion>
                                      </p:childTnLst>
                                    </p:cTn>
                                  </p:par>
                                  <p:par>
                                    <p:cTn id="72" presetID="10" presetClass="entr" presetSubtype="0" fill="hold" grpId="0" nodeType="withEffect">
                                      <p:stCondLst>
                                        <p:cond delay="100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par>
                                    <p:cTn id="75" presetID="42" presetClass="path" presetSubtype="0" decel="100000" fill="hold" grpId="1" nodeType="withEffect">
                                      <p:stCondLst>
                                        <p:cond delay="1000"/>
                                      </p:stCondLst>
                                      <p:childTnLst>
                                        <p:animMotion origin="layout" path="M 4.79167E-6 -0.03472 L 4.79167E-6 1.11111E-6 " pathEditMode="relative" rAng="0" ptsTypes="AA">
                                          <p:cBhvr>
                                            <p:cTn id="76" dur="500" fill="hold"/>
                                            <p:tgtEl>
                                              <p:spTgt spid="7"/>
                                            </p:tgtEl>
                                            <p:attrNameLst>
                                              <p:attrName>ppt_x</p:attrName>
                                              <p:attrName>ppt_y</p:attrName>
                                            </p:attrNameLst>
                                          </p:cBhvr>
                                          <p:rCtr x="0" y="1736"/>
                                        </p:animMotion>
                                      </p:childTnLst>
                                    </p:cTn>
                                  </p:par>
                                </p:childTnLst>
                              </p:cTn>
                            </p:par>
                            <p:par>
                              <p:cTn id="77" fill="hold">
                                <p:stCondLst>
                                  <p:cond delay="8000"/>
                                </p:stCondLst>
                                <p:childTnLst>
                                  <p:par>
                                    <p:cTn id="78" presetID="10" presetClass="entr" presetSubtype="0" fill="hold" grpId="0" nodeType="afterEffect">
                                      <p:stCondLst>
                                        <p:cond delay="0"/>
                                      </p:stCondLst>
                                      <p:childTnLst>
                                        <p:set>
                                          <p:cBhvr>
                                            <p:cTn id="79" dur="1" fill="hold">
                                              <p:stCondLst>
                                                <p:cond delay="0"/>
                                              </p:stCondLst>
                                            </p:cTn>
                                            <p:tgtEl>
                                              <p:spTgt spid="10"/>
                                            </p:tgtEl>
                                            <p:attrNameLst>
                                              <p:attrName>style.visibility</p:attrName>
                                            </p:attrNameLst>
                                          </p:cBhvr>
                                          <p:to>
                                            <p:strVal val="visible"/>
                                          </p:to>
                                        </p:set>
                                        <p:animEffect transition="in" filter="fade">
                                          <p:cBhvr>
                                            <p:cTn id="80" dur="500"/>
                                            <p:tgtEl>
                                              <p:spTgt spid="10"/>
                                            </p:tgtEl>
                                          </p:cBhvr>
                                        </p:animEffect>
                                      </p:childTnLst>
                                    </p:cTn>
                                  </p:par>
                                  <p:par>
                                    <p:cTn id="81" presetID="64" presetClass="path" presetSubtype="0" fill="hold" grpId="1" nodeType="withEffect">
                                      <p:stCondLst>
                                        <p:cond delay="0"/>
                                      </p:stCondLst>
                                      <p:childTnLst>
                                        <p:animMotion origin="layout" path="M 4.79167E-6 3.7037E-7 L 4.79167E-6 -0.03125 " pathEditMode="relative" rAng="0" ptsTypes="AA">
                                          <p:cBhvr>
                                            <p:cTn id="82" dur="500" spd="-100000" fill="hold"/>
                                            <p:tgtEl>
                                              <p:spTgt spid="10"/>
                                            </p:tgtEl>
                                            <p:attrNameLst>
                                              <p:attrName>ppt_x</p:attrName>
                                              <p:attrName>ppt_y</p:attrName>
                                            </p:attrNameLst>
                                          </p:cBhvr>
                                          <p:rCtr x="0" y="-1574"/>
                                        </p:animMotion>
                                      </p:childTnLst>
                                    </p:cTn>
                                  </p:par>
                                  <p:par>
                                    <p:cTn id="83" presetID="16" presetClass="entr" presetSubtype="42" fill="hold" nodeType="withEffect">
                                      <p:stCondLst>
                                        <p:cond delay="0"/>
                                      </p:stCondLst>
                                      <p:childTnLst>
                                        <p:set>
                                          <p:cBhvr>
                                            <p:cTn id="84" dur="1" fill="hold">
                                              <p:stCondLst>
                                                <p:cond delay="0"/>
                                              </p:stCondLst>
                                            </p:cTn>
                                            <p:tgtEl>
                                              <p:spTgt spid="14"/>
                                            </p:tgtEl>
                                            <p:attrNameLst>
                                              <p:attrName>style.visibility</p:attrName>
                                            </p:attrNameLst>
                                          </p:cBhvr>
                                          <p:to>
                                            <p:strVal val="visible"/>
                                          </p:to>
                                        </p:set>
                                        <p:animEffect transition="in" filter="barn(outHorizontal)">
                                          <p:cBhvr>
                                            <p:cTn id="85" dur="1000"/>
                                            <p:tgtEl>
                                              <p:spTgt spid="14"/>
                                            </p:tgtEl>
                                          </p:cBhvr>
                                        </p:animEffect>
                                      </p:childTnLst>
                                    </p:cTn>
                                  </p:par>
                                  <p:par>
                                    <p:cTn id="86" presetID="10" presetClass="entr" presetSubtype="0" fill="hold" grpId="0" nodeType="withEffect">
                                      <p:stCondLst>
                                        <p:cond delay="1000"/>
                                      </p:stCondLst>
                                      <p:childTnLst>
                                        <p:set>
                                          <p:cBhvr>
                                            <p:cTn id="87" dur="1" fill="hold">
                                              <p:stCondLst>
                                                <p:cond delay="0"/>
                                              </p:stCondLst>
                                            </p:cTn>
                                            <p:tgtEl>
                                              <p:spTgt spid="9"/>
                                            </p:tgtEl>
                                            <p:attrNameLst>
                                              <p:attrName>style.visibility</p:attrName>
                                            </p:attrNameLst>
                                          </p:cBhvr>
                                          <p:to>
                                            <p:strVal val="visible"/>
                                          </p:to>
                                        </p:set>
                                        <p:animEffect transition="in" filter="fade">
                                          <p:cBhvr>
                                            <p:cTn id="88" dur="500"/>
                                            <p:tgtEl>
                                              <p:spTgt spid="9"/>
                                            </p:tgtEl>
                                          </p:cBhvr>
                                        </p:animEffect>
                                      </p:childTnLst>
                                    </p:cTn>
                                  </p:par>
                                  <p:par>
                                    <p:cTn id="89" presetID="42" presetClass="path" presetSubtype="0" decel="100000" fill="hold" grpId="1" nodeType="withEffect">
                                      <p:stCondLst>
                                        <p:cond delay="1000"/>
                                      </p:stCondLst>
                                      <p:childTnLst>
                                        <p:animMotion origin="layout" path="M 4.79167E-6 -0.03472 L 4.79167E-6 1.11111E-6 " pathEditMode="relative" rAng="0" ptsTypes="AA">
                                          <p:cBhvr>
                                            <p:cTn id="90" dur="500" fill="hold"/>
                                            <p:tgtEl>
                                              <p:spTgt spid="9"/>
                                            </p:tgtEl>
                                            <p:attrNameLst>
                                              <p:attrName>ppt_x</p:attrName>
                                              <p:attrName>ppt_y</p:attrName>
                                            </p:attrNameLst>
                                          </p:cBhvr>
                                          <p:rCtr x="0" y="1736"/>
                                        </p:animMotion>
                                      </p:childTnLst>
                                    </p:cTn>
                                  </p:par>
                                </p:childTnLst>
                              </p:cTn>
                            </p:par>
                            <p:par>
                              <p:cTn id="91" fill="hold">
                                <p:stCondLst>
                                  <p:cond delay="9500"/>
                                </p:stCondLst>
                                <p:childTnLst>
                                  <p:par>
                                    <p:cTn id="92" presetID="10" presetClass="entr" presetSubtype="0" fill="hold" grpId="0" nodeType="afterEffect">
                                      <p:stCondLst>
                                        <p:cond delay="0"/>
                                      </p:stCondLst>
                                      <p:childTnLst>
                                        <p:set>
                                          <p:cBhvr>
                                            <p:cTn id="93" dur="1" fill="hold">
                                              <p:stCondLst>
                                                <p:cond delay="0"/>
                                              </p:stCondLst>
                                            </p:cTn>
                                            <p:tgtEl>
                                              <p:spTgt spid="11"/>
                                            </p:tgtEl>
                                            <p:attrNameLst>
                                              <p:attrName>style.visibility</p:attrName>
                                            </p:attrNameLst>
                                          </p:cBhvr>
                                          <p:to>
                                            <p:strVal val="visible"/>
                                          </p:to>
                                        </p:set>
                                        <p:animEffect transition="in" filter="fade">
                                          <p:cBhvr>
                                            <p:cTn id="94" dur="500"/>
                                            <p:tgtEl>
                                              <p:spTgt spid="11"/>
                                            </p:tgtEl>
                                          </p:cBhvr>
                                        </p:animEffect>
                                      </p:childTnLst>
                                    </p:cTn>
                                  </p:par>
                                  <p:par>
                                    <p:cTn id="95" presetID="64" presetClass="path" presetSubtype="0" fill="hold" grpId="1" nodeType="withEffect">
                                      <p:stCondLst>
                                        <p:cond delay="0"/>
                                      </p:stCondLst>
                                      <p:childTnLst>
                                        <p:animMotion origin="layout" path="M 4.79167E-6 3.7037E-7 L 4.79167E-6 -0.03125 " pathEditMode="relative" rAng="0" ptsTypes="AA">
                                          <p:cBhvr>
                                            <p:cTn id="96" dur="500" spd="-100000" fill="hold"/>
                                            <p:tgtEl>
                                              <p:spTgt spid="11"/>
                                            </p:tgtEl>
                                            <p:attrNameLst>
                                              <p:attrName>ppt_x</p:attrName>
                                              <p:attrName>ppt_y</p:attrName>
                                            </p:attrNameLst>
                                          </p:cBhvr>
                                          <p:rCtr x="0" y="-1574"/>
                                        </p:animMotion>
                                      </p:childTnLst>
                                    </p:cTn>
                                  </p:par>
                                  <p:par>
                                    <p:cTn id="97" presetID="10" presetClass="entr" presetSubtype="0" fill="hold" grpId="0" nodeType="withEffect">
                                      <p:stCondLst>
                                        <p:cond delay="1000"/>
                                      </p:stCondLst>
                                      <p:childTnLst>
                                        <p:set>
                                          <p:cBhvr>
                                            <p:cTn id="98" dur="1" fill="hold">
                                              <p:stCondLst>
                                                <p:cond delay="0"/>
                                              </p:stCondLst>
                                            </p:cTn>
                                            <p:tgtEl>
                                              <p:spTgt spid="12"/>
                                            </p:tgtEl>
                                            <p:attrNameLst>
                                              <p:attrName>style.visibility</p:attrName>
                                            </p:attrNameLst>
                                          </p:cBhvr>
                                          <p:to>
                                            <p:strVal val="visible"/>
                                          </p:to>
                                        </p:set>
                                        <p:animEffect transition="in" filter="fade">
                                          <p:cBhvr>
                                            <p:cTn id="99" dur="500"/>
                                            <p:tgtEl>
                                              <p:spTgt spid="12"/>
                                            </p:tgtEl>
                                          </p:cBhvr>
                                        </p:animEffect>
                                      </p:childTnLst>
                                    </p:cTn>
                                  </p:par>
                                  <p:par>
                                    <p:cTn id="100" presetID="42" presetClass="path" presetSubtype="0" decel="100000" fill="hold" grpId="1" nodeType="withEffect">
                                      <p:stCondLst>
                                        <p:cond delay="1000"/>
                                      </p:stCondLst>
                                      <p:childTnLst>
                                        <p:animMotion origin="layout" path="M 2.29167E-6 -0.03472 L 2.29167E-6 -2.59259E-6 " pathEditMode="relative" rAng="0" ptsTypes="AA">
                                          <p:cBhvr>
                                            <p:cTn id="101" dur="500" fill="hold"/>
                                            <p:tgtEl>
                                              <p:spTgt spid="12"/>
                                            </p:tgtEl>
                                            <p:attrNameLst>
                                              <p:attrName>ppt_x</p:attrName>
                                              <p:attrName>ppt_y</p:attrName>
                                            </p:attrNameLst>
                                          </p:cBhvr>
                                          <p:rCtr x="0" y="1736"/>
                                        </p:animMotion>
                                      </p:childTnLst>
                                    </p:cTn>
                                  </p:par>
                                </p:childTnLst>
                              </p:cTn>
                            </p:par>
                            <p:par>
                              <p:cTn id="102" fill="hold">
                                <p:stCondLst>
                                  <p:cond delay="11000"/>
                                </p:stCondLst>
                                <p:childTnLst>
                                  <p:par>
                                    <p:cTn id="103" presetID="10" presetClass="entr" presetSubtype="0" fill="hold" grpId="0" nodeType="afterEffect">
                                      <p:stCondLst>
                                        <p:cond delay="0"/>
                                      </p:stCondLst>
                                      <p:childTnLst>
                                        <p:set>
                                          <p:cBhvr>
                                            <p:cTn id="104" dur="1" fill="hold">
                                              <p:stCondLst>
                                                <p:cond delay="0"/>
                                              </p:stCondLst>
                                            </p:cTn>
                                            <p:tgtEl>
                                              <p:spTgt spid="13"/>
                                            </p:tgtEl>
                                            <p:attrNameLst>
                                              <p:attrName>style.visibility</p:attrName>
                                            </p:attrNameLst>
                                          </p:cBhvr>
                                          <p:to>
                                            <p:strVal val="visible"/>
                                          </p:to>
                                        </p:set>
                                        <p:animEffect transition="in" filter="fade">
                                          <p:cBhvr>
                                            <p:cTn id="105" dur="500"/>
                                            <p:tgtEl>
                                              <p:spTgt spid="13"/>
                                            </p:tgtEl>
                                          </p:cBhvr>
                                        </p:animEffect>
                                      </p:childTnLst>
                                    </p:cTn>
                                  </p:par>
                                  <p:par>
                                    <p:cTn id="106" presetID="64" presetClass="path" presetSubtype="0" fill="hold" grpId="1" nodeType="withEffect">
                                      <p:stCondLst>
                                        <p:cond delay="0"/>
                                      </p:stCondLst>
                                      <p:childTnLst>
                                        <p:animMotion origin="layout" path="M 2.29167E-6 1.85185E-6 L 2.29167E-6 -0.03125 " pathEditMode="relative" rAng="0" ptsTypes="AA">
                                          <p:cBhvr>
                                            <p:cTn id="107" dur="500" spd="-100000" fill="hold"/>
                                            <p:tgtEl>
                                              <p:spTgt spid="13"/>
                                            </p:tgtEl>
                                            <p:attrNameLst>
                                              <p:attrName>ppt_x</p:attrName>
                                              <p:attrName>ppt_y</p:attrName>
                                            </p:attrNameLst>
                                          </p:cBhvr>
                                          <p:rCtr x="0" y="-1574"/>
                                        </p:animMotion>
                                      </p:childTnLst>
                                    </p:cTn>
                                  </p:par>
                                  <p:par>
                                    <p:cTn id="108" presetID="10" presetClass="entr" presetSubtype="0" fill="hold" grpId="0" nodeType="withEffect">
                                      <p:stCondLst>
                                        <p:cond delay="1000"/>
                                      </p:stCondLst>
                                      <p:childTnLst>
                                        <p:set>
                                          <p:cBhvr>
                                            <p:cTn id="109" dur="1" fill="hold">
                                              <p:stCondLst>
                                                <p:cond delay="0"/>
                                              </p:stCondLst>
                                            </p:cTn>
                                            <p:tgtEl>
                                              <p:spTgt spid="68"/>
                                            </p:tgtEl>
                                            <p:attrNameLst>
                                              <p:attrName>style.visibility</p:attrName>
                                            </p:attrNameLst>
                                          </p:cBhvr>
                                          <p:to>
                                            <p:strVal val="visible"/>
                                          </p:to>
                                        </p:set>
                                        <p:animEffect transition="in" filter="fade">
                                          <p:cBhvr>
                                            <p:cTn id="110" dur="500"/>
                                            <p:tgtEl>
                                              <p:spTgt spid="68"/>
                                            </p:tgtEl>
                                          </p:cBhvr>
                                        </p:animEffect>
                                      </p:childTnLst>
                                    </p:cTn>
                                  </p:par>
                                  <p:par>
                                    <p:cTn id="111" presetID="42" presetClass="path" presetSubtype="0" decel="100000" fill="hold" grpId="1" nodeType="withEffect">
                                      <p:stCondLst>
                                        <p:cond delay="1000"/>
                                      </p:stCondLst>
                                      <p:childTnLst>
                                        <p:animMotion origin="layout" path="M 2.29167E-6 -0.03473 L 2.29167E-6 4.81481E-6 " pathEditMode="relative" rAng="0" ptsTypes="AA">
                                          <p:cBhvr>
                                            <p:cTn id="112" dur="500" fill="hold"/>
                                            <p:tgtEl>
                                              <p:spTgt spid="68"/>
                                            </p:tgtEl>
                                            <p:attrNameLst>
                                              <p:attrName>ppt_x</p:attrName>
                                              <p:attrName>ppt_y</p:attrName>
                                            </p:attrNameLst>
                                          </p:cBhvr>
                                          <p:rCtr x="0" y="1736"/>
                                        </p:animMotion>
                                      </p:childTnLst>
                                    </p:cTn>
                                  </p:par>
                                </p:childTnLst>
                              </p:cTn>
                            </p:par>
                            <p:par>
                              <p:cTn id="113" fill="hold">
                                <p:stCondLst>
                                  <p:cond delay="12500"/>
                                </p:stCondLst>
                                <p:childTnLst>
                                  <p:par>
                                    <p:cTn id="114" presetID="10" presetClass="entr" presetSubtype="0" fill="hold" grpId="0" nodeType="afterEffect">
                                      <p:stCondLst>
                                        <p:cond delay="0"/>
                                      </p:stCondLst>
                                      <p:childTnLst>
                                        <p:set>
                                          <p:cBhvr>
                                            <p:cTn id="115" dur="1" fill="hold">
                                              <p:stCondLst>
                                                <p:cond delay="0"/>
                                              </p:stCondLst>
                                            </p:cTn>
                                            <p:tgtEl>
                                              <p:spTgt spid="69"/>
                                            </p:tgtEl>
                                            <p:attrNameLst>
                                              <p:attrName>style.visibility</p:attrName>
                                            </p:attrNameLst>
                                          </p:cBhvr>
                                          <p:to>
                                            <p:strVal val="visible"/>
                                          </p:to>
                                        </p:set>
                                        <p:animEffect transition="in" filter="fade">
                                          <p:cBhvr>
                                            <p:cTn id="116" dur="500"/>
                                            <p:tgtEl>
                                              <p:spTgt spid="69"/>
                                            </p:tgtEl>
                                          </p:cBhvr>
                                        </p:animEffect>
                                      </p:childTnLst>
                                    </p:cTn>
                                  </p:par>
                                  <p:par>
                                    <p:cTn id="117" presetID="64" presetClass="path" presetSubtype="0" fill="hold" grpId="1" nodeType="withEffect">
                                      <p:stCondLst>
                                        <p:cond delay="0"/>
                                      </p:stCondLst>
                                      <p:childTnLst>
                                        <p:animMotion origin="layout" path="M 2.29167E-6 3.7037E-6 L 2.29167E-6 -0.03125 " pathEditMode="relative" rAng="0" ptsTypes="AA">
                                          <p:cBhvr>
                                            <p:cTn id="118" dur="500" spd="-100000" fill="hold"/>
                                            <p:tgtEl>
                                              <p:spTgt spid="69"/>
                                            </p:tgtEl>
                                            <p:attrNameLst>
                                              <p:attrName>ppt_x</p:attrName>
                                              <p:attrName>ppt_y</p:attrName>
                                            </p:attrNameLst>
                                          </p:cBhvr>
                                          <p:rCtr x="0" y="-1574"/>
                                        </p:animMotion>
                                      </p:childTnLst>
                                    </p:cTn>
                                  </p:par>
                                  <p:par>
                                    <p:cTn id="119" presetID="10" presetClass="entr" presetSubtype="0" fill="hold" grpId="0" nodeType="withEffect">
                                      <p:stCondLst>
                                        <p:cond delay="1000"/>
                                      </p:stCondLst>
                                      <p:childTnLst>
                                        <p:set>
                                          <p:cBhvr>
                                            <p:cTn id="120" dur="1" fill="hold">
                                              <p:stCondLst>
                                                <p:cond delay="0"/>
                                              </p:stCondLst>
                                            </p:cTn>
                                            <p:tgtEl>
                                              <p:spTgt spid="3"/>
                                            </p:tgtEl>
                                            <p:attrNameLst>
                                              <p:attrName>style.visibility</p:attrName>
                                            </p:attrNameLst>
                                          </p:cBhvr>
                                          <p:to>
                                            <p:strVal val="visible"/>
                                          </p:to>
                                        </p:set>
                                        <p:animEffect transition="in" filter="fade">
                                          <p:cBhvr>
                                            <p:cTn id="121" dur="500"/>
                                            <p:tgtEl>
                                              <p:spTgt spid="3"/>
                                            </p:tgtEl>
                                          </p:cBhvr>
                                        </p:animEffect>
                                      </p:childTnLst>
                                    </p:cTn>
                                  </p:par>
                                  <p:par>
                                    <p:cTn id="122" presetID="42" presetClass="path" presetSubtype="0" decel="100000" fill="hold" grpId="1" nodeType="withEffect">
                                      <p:stCondLst>
                                        <p:cond delay="1000"/>
                                      </p:stCondLst>
                                      <p:childTnLst>
                                        <p:animMotion origin="layout" path="M 2.29167E-6 -0.03472 L 2.29167E-6 2.59259E-6 " pathEditMode="relative" rAng="0" ptsTypes="AA">
                                          <p:cBhvr>
                                            <p:cTn id="123" dur="500" fill="hold"/>
                                            <p:tgtEl>
                                              <p:spTgt spid="3"/>
                                            </p:tgtEl>
                                            <p:attrNameLst>
                                              <p:attrName>ppt_x</p:attrName>
                                              <p:attrName>ppt_y</p:attrName>
                                            </p:attrNameLst>
                                          </p:cBhvr>
                                          <p:rCtr x="0" y="1736"/>
                                        </p:animMotion>
                                      </p:childTnLst>
                                    </p:cTn>
                                  </p:par>
                                </p:childTnLst>
                              </p:cTn>
                            </p:par>
                            <p:par>
                              <p:cTn id="124" fill="hold">
                                <p:stCondLst>
                                  <p:cond delay="14000"/>
                                </p:stCondLst>
                                <p:childTnLst>
                                  <p:par>
                                    <p:cTn id="125" presetID="10" presetClass="entr" presetSubtype="0" fill="hold" grpId="0" nodeType="afterEffect">
                                      <p:stCondLst>
                                        <p:cond delay="0"/>
                                      </p:stCondLst>
                                      <p:childTnLst>
                                        <p:set>
                                          <p:cBhvr>
                                            <p:cTn id="126" dur="1" fill="hold">
                                              <p:stCondLst>
                                                <p:cond delay="0"/>
                                              </p:stCondLst>
                                            </p:cTn>
                                            <p:tgtEl>
                                              <p:spTgt spid="4"/>
                                            </p:tgtEl>
                                            <p:attrNameLst>
                                              <p:attrName>style.visibility</p:attrName>
                                            </p:attrNameLst>
                                          </p:cBhvr>
                                          <p:to>
                                            <p:strVal val="visible"/>
                                          </p:to>
                                        </p:set>
                                        <p:animEffect transition="in" filter="fade">
                                          <p:cBhvr>
                                            <p:cTn id="127" dur="500"/>
                                            <p:tgtEl>
                                              <p:spTgt spid="4"/>
                                            </p:tgtEl>
                                          </p:cBhvr>
                                        </p:animEffect>
                                      </p:childTnLst>
                                    </p:cTn>
                                  </p:par>
                                  <p:par>
                                    <p:cTn id="128" presetID="64" presetClass="path" presetSubtype="0" fill="hold" grpId="1" nodeType="withEffect">
                                      <p:stCondLst>
                                        <p:cond delay="0"/>
                                      </p:stCondLst>
                                      <p:childTnLst>
                                        <p:animMotion origin="layout" path="M 2.29167E-6 1.48148E-6 L 2.29167E-6 -0.03125 " pathEditMode="relative" rAng="0" ptsTypes="AA">
                                          <p:cBhvr>
                                            <p:cTn id="129" dur="500" spd="-100000" fill="hold"/>
                                            <p:tgtEl>
                                              <p:spTgt spid="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P spid="18" grpId="0" animBg="1"/>
          <p:bldP spid="29" grpId="0"/>
          <p:bldP spid="10" grpId="0"/>
          <p:bldP spid="10" grpId="1"/>
          <p:bldP spid="67" grpId="0"/>
          <p:bldP spid="67" grpId="1"/>
          <p:bldP spid="26" grpId="0"/>
          <p:bldP spid="26" grpId="1"/>
          <p:bldP spid="59" grpId="0"/>
          <p:bldP spid="59" grpId="1"/>
          <p:bldP spid="8" grpId="0"/>
          <p:bldP spid="8" grpId="1"/>
          <p:bldP spid="69" grpId="0"/>
          <p:bldP spid="69" grpId="1"/>
          <p:bldP spid="4" grpId="0"/>
          <p:bldP spid="4" grpId="1"/>
          <p:bldP spid="11" grpId="0"/>
          <p:bldP spid="11" grpId="1"/>
          <p:bldP spid="13" grpId="0"/>
          <p:bldP spid="13" grpId="1"/>
          <p:bldP spid="55" grpId="0" animBg="1"/>
          <p:bldP spid="55" grpId="1" animBg="1"/>
          <p:bldP spid="7" grpId="0" animBg="1"/>
          <p:bldP spid="7" grpId="1" animBg="1"/>
          <p:bldP spid="54" grpId="0" animBg="1"/>
          <p:bldP spid="54" grpId="1" animBg="1"/>
          <p:bldP spid="58" grpId="0" animBg="1"/>
          <p:bldP spid="58" grpId="1" animBg="1"/>
          <p:bldP spid="6" grpId="0" animBg="1"/>
          <p:bldP spid="6" grpId="1" animBg="1"/>
          <p:bldP spid="68" grpId="0" animBg="1"/>
          <p:bldP spid="68" grpId="1" animBg="1"/>
          <p:bldP spid="3" grpId="0" animBg="1"/>
          <p:bldP spid="3" grpId="1" animBg="1"/>
          <p:bldP spid="9" grpId="0" animBg="1"/>
          <p:bldP spid="9" grpId="1" animBg="1"/>
          <p:bldP spid="12" grpId="0" animBg="1"/>
          <p:bldP spid="12" grpId="1" animBg="1"/>
        </p:bldLst>
      </p:timing>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ABB32-F573-C674-D7D1-2004C3E3923C}"/>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E5A34C79-57A7-FCBF-459C-BB1DC5E0D348}"/>
              </a:ext>
            </a:extLst>
          </p:cNvPr>
          <p:cNvPicPr>
            <a:picLocks/>
          </p:cNvPicPr>
          <p:nvPr/>
        </p:nvPicPr>
        <p:blipFill>
          <a:blip r:embed="rId3">
            <a:alphaModFix amt="58000"/>
          </a:blip>
          <a:srcRect t="15736" b="15737"/>
          <a:stretch/>
        </p:blipFill>
        <p:spPr>
          <a:xfrm flipH="1">
            <a:off x="0" y="0"/>
            <a:ext cx="6179670" cy="6858000"/>
          </a:xfrm>
          <a:prstGeom prst="rect">
            <a:avLst/>
          </a:prstGeom>
        </p:spPr>
      </p:pic>
      <p:sp>
        <p:nvSpPr>
          <p:cNvPr id="6" name="Text Placeholder 5">
            <a:extLst>
              <a:ext uri="{FF2B5EF4-FFF2-40B4-BE49-F238E27FC236}">
                <a16:creationId xmlns:a16="http://schemas.microsoft.com/office/drawing/2014/main" id="{DFA48BF1-D4C2-22EF-A8F9-C2EF444EE946}"/>
              </a:ext>
            </a:extLst>
          </p:cNvPr>
          <p:cNvSpPr>
            <a:spLocks noGrp="1"/>
          </p:cNvSpPr>
          <p:nvPr>
            <p:ph type="body" sz="quarter" idx="13"/>
          </p:nvPr>
        </p:nvSpPr>
        <p:spPr>
          <a:xfrm>
            <a:off x="723900" y="706983"/>
            <a:ext cx="10744200" cy="576250"/>
          </a:xfrm>
        </p:spPr>
        <p:txBody>
          <a:bodyPr/>
          <a:lstStyle/>
          <a:p>
            <a:r>
              <a:rPr lang="en-US">
                <a:ln w="3175">
                  <a:noFill/>
                </a:ln>
                <a:gradFill>
                  <a:gsLst>
                    <a:gs pos="0">
                      <a:srgbClr val="0D7BFF"/>
                    </a:gs>
                    <a:gs pos="100000">
                      <a:srgbClr val="D05F74"/>
                    </a:gs>
                  </a:gsLst>
                  <a:lin ang="0" scaled="1"/>
                </a:gradFill>
              </a:rPr>
              <a:t>Watch more videos on YouTube</a:t>
            </a:r>
          </a:p>
        </p:txBody>
      </p:sp>
      <p:sp>
        <p:nvSpPr>
          <p:cNvPr id="4" name="Rectangle: Rounded Corners 3">
            <a:extLst>
              <a:ext uri="{FF2B5EF4-FFF2-40B4-BE49-F238E27FC236}">
                <a16:creationId xmlns:a16="http://schemas.microsoft.com/office/drawing/2014/main" id="{20144826-D890-E56F-B487-1147AD5CC612}"/>
              </a:ext>
            </a:extLst>
          </p:cNvPr>
          <p:cNvSpPr>
            <a:spLocks/>
          </p:cNvSpPr>
          <p:nvPr/>
        </p:nvSpPr>
        <p:spPr>
          <a:xfrm>
            <a:off x="762000" y="1768352"/>
            <a:ext cx="5929086" cy="4339772"/>
          </a:xfrm>
          <a:prstGeom prst="roundRect">
            <a:avLst>
              <a:gd name="adj" fmla="val 4048"/>
            </a:avLst>
          </a:prstGeom>
          <a:gradFill flip="none" rotWithShape="1">
            <a:gsLst>
              <a:gs pos="0">
                <a:srgbClr val="092F45"/>
              </a:gs>
              <a:gs pos="100000">
                <a:srgbClr val="091F2C">
                  <a:alpha val="61000"/>
                </a:srgbClr>
              </a:gs>
            </a:gsLst>
            <a:lin ang="0" scaled="1"/>
            <a:tileRect/>
          </a:gradFill>
          <a:ln>
            <a:noFill/>
          </a:ln>
          <a:effectLst>
            <a:outerShdw blurRad="326790" dist="350359" dir="8100000" sx="99548" sy="99548" algn="tr" rotWithShape="0">
              <a:schemeClr val="bg2">
                <a:alpha val="29706"/>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5000" b="0" i="0" u="none" strike="noStrike" kern="1200" cap="none" spc="0" normalizeH="0" baseline="0" noProof="0">
              <a:ln w="3175">
                <a:noFill/>
              </a:ln>
              <a:gradFill>
                <a:gsLst>
                  <a:gs pos="0">
                    <a:srgbClr val="0D7BFF"/>
                  </a:gs>
                  <a:gs pos="100000">
                    <a:srgbClr val="CA4961">
                      <a:lumMod val="88000"/>
                      <a:lumOff val="12000"/>
                    </a:srgbClr>
                  </a:gs>
                </a:gsLst>
                <a:lin ang="0" scaled="1"/>
              </a:gradFill>
              <a:effectLst/>
              <a:uLnTx/>
              <a:uFillTx/>
              <a:latin typeface="Segoe UI Semibold"/>
              <a:ea typeface="+mn-ea"/>
              <a:cs typeface="Segoe UI" pitchFamily="34" charset="0"/>
            </a:endParaRPr>
          </a:p>
        </p:txBody>
      </p:sp>
      <p:sp>
        <p:nvSpPr>
          <p:cNvPr id="5" name="Rectangle 4">
            <a:extLst>
              <a:ext uri="{FF2B5EF4-FFF2-40B4-BE49-F238E27FC236}">
                <a16:creationId xmlns:a16="http://schemas.microsoft.com/office/drawing/2014/main" id="{745C0AE3-8233-BB1C-80F5-0DAE043529EB}"/>
              </a:ext>
            </a:extLst>
          </p:cNvPr>
          <p:cNvSpPr>
            <a:spLocks/>
          </p:cNvSpPr>
          <p:nvPr/>
        </p:nvSpPr>
        <p:spPr bwMode="auto">
          <a:xfrm>
            <a:off x="1105276" y="2318564"/>
            <a:ext cx="4050924" cy="3239348"/>
          </a:xfrm>
          <a:prstGeom prst="rect">
            <a:avLst/>
          </a:prstGeom>
          <a:noFill/>
          <a:ln w="158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1500"/>
              </a:spcAft>
              <a:buClrTx/>
              <a:buSzTx/>
              <a:buFontTx/>
              <a:buNone/>
              <a:tabLst/>
              <a:defRPr/>
            </a:pPr>
            <a:r>
              <a:rPr kumimoji="0" lang="en-US" sz="2400" b="0" i="0" u="none" strike="noStrike" kern="1200" cap="none" spc="0" normalizeH="0" baseline="0" noProof="0">
                <a:ln>
                  <a:noFill/>
                </a:ln>
                <a:gradFill>
                  <a:gsLst>
                    <a:gs pos="0">
                      <a:srgbClr val="0D7BFF"/>
                    </a:gs>
                    <a:gs pos="100000">
                      <a:srgbClr val="D05F74"/>
                    </a:gs>
                  </a:gsLst>
                  <a:lin ang="0" scaled="1"/>
                </a:gradFill>
                <a:effectLst/>
                <a:uLnTx/>
                <a:uFillTx/>
                <a:latin typeface="Segoe UI Semibold"/>
                <a:ea typeface="+mn-ea"/>
                <a:cs typeface="Segoe UI Semibold" panose="020B0502040204020203" pitchFamily="34" charset="0"/>
              </a:rPr>
              <a:t>One stop to watch Business Central videos:</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What is new </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Copilot and AI</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Short tips and tricks</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Technical deep dives</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Under the Hood podcast series</a:t>
            </a:r>
          </a:p>
        </p:txBody>
      </p:sp>
      <p:pic>
        <p:nvPicPr>
          <p:cNvPr id="10" name="Picture 9" descr="A picture containing text, computer, computer, indoor&#10;&#10;Description automatically generated">
            <a:extLst>
              <a:ext uri="{FF2B5EF4-FFF2-40B4-BE49-F238E27FC236}">
                <a16:creationId xmlns:a16="http://schemas.microsoft.com/office/drawing/2014/main" id="{BEFEA985-F8A9-AEE6-6F70-B00DE6F76087}"/>
              </a:ext>
            </a:extLst>
          </p:cNvPr>
          <p:cNvPicPr>
            <a:picLocks noChangeAspect="1"/>
          </p:cNvPicPr>
          <p:nvPr/>
        </p:nvPicPr>
        <p:blipFill>
          <a:blip r:embed="rId5" cstate="print">
            <a:extLst>
              <a:ext uri="{28A0092B-C50C-407E-A947-70E740481C1C}">
                <a14:useLocalDpi xmlns:a14="http://schemas.microsoft.com/office/drawing/2010/main" val="0"/>
              </a:ext>
            </a:extLst>
          </a:blip>
          <a:srcRect l="15642" t="7892" r="15642" b="7892"/>
          <a:stretch/>
        </p:blipFill>
        <p:spPr>
          <a:xfrm>
            <a:off x="4610477" y="1310576"/>
            <a:ext cx="7623312" cy="5255324"/>
          </a:xfrm>
          <a:custGeom>
            <a:avLst/>
            <a:gdLst>
              <a:gd name="connsiteX0" fmla="*/ 1148622 w 8846378"/>
              <a:gd name="connsiteY0" fmla="*/ 561975 h 6098476"/>
              <a:gd name="connsiteX1" fmla="*/ 1148622 w 8846378"/>
              <a:gd name="connsiteY1" fmla="*/ 4915745 h 6098476"/>
              <a:gd name="connsiteX2" fmla="*/ 7697756 w 8846378"/>
              <a:gd name="connsiteY2" fmla="*/ 4915745 h 6098476"/>
              <a:gd name="connsiteX3" fmla="*/ 7697756 w 8846378"/>
              <a:gd name="connsiteY3" fmla="*/ 561975 h 6098476"/>
              <a:gd name="connsiteX4" fmla="*/ 0 w 8846378"/>
              <a:gd name="connsiteY4" fmla="*/ 0 h 6098476"/>
              <a:gd name="connsiteX5" fmla="*/ 8846378 w 8846378"/>
              <a:gd name="connsiteY5" fmla="*/ 0 h 6098476"/>
              <a:gd name="connsiteX6" fmla="*/ 8846378 w 8846378"/>
              <a:gd name="connsiteY6" fmla="*/ 6098476 h 6098476"/>
              <a:gd name="connsiteX7" fmla="*/ 0 w 8846378"/>
              <a:gd name="connsiteY7" fmla="*/ 6098476 h 6098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46378" h="6098476">
                <a:moveTo>
                  <a:pt x="1148622" y="561975"/>
                </a:moveTo>
                <a:lnTo>
                  <a:pt x="1148622" y="4915745"/>
                </a:lnTo>
                <a:lnTo>
                  <a:pt x="7697756" y="4915745"/>
                </a:lnTo>
                <a:lnTo>
                  <a:pt x="7697756" y="561975"/>
                </a:lnTo>
                <a:close/>
                <a:moveTo>
                  <a:pt x="0" y="0"/>
                </a:moveTo>
                <a:lnTo>
                  <a:pt x="8846378" y="0"/>
                </a:lnTo>
                <a:lnTo>
                  <a:pt x="8846378" y="6098476"/>
                </a:lnTo>
                <a:lnTo>
                  <a:pt x="0" y="6098476"/>
                </a:lnTo>
                <a:close/>
              </a:path>
            </a:pathLst>
          </a:custGeom>
        </p:spPr>
      </p:pic>
      <p:sp>
        <p:nvSpPr>
          <p:cNvPr id="12" name="Rectangle: Rounded Corners 11">
            <a:extLst>
              <a:ext uri="{FF2B5EF4-FFF2-40B4-BE49-F238E27FC236}">
                <a16:creationId xmlns:a16="http://schemas.microsoft.com/office/drawing/2014/main" id="{ABFCFFC2-30BC-FE11-5A34-7F17FC1090D6}"/>
              </a:ext>
            </a:extLst>
          </p:cNvPr>
          <p:cNvSpPr>
            <a:spLocks/>
          </p:cNvSpPr>
          <p:nvPr/>
        </p:nvSpPr>
        <p:spPr bwMode="auto">
          <a:xfrm>
            <a:off x="6639403" y="5806960"/>
            <a:ext cx="3565460" cy="452710"/>
          </a:xfrm>
          <a:prstGeom prst="roundRect">
            <a:avLst>
              <a:gd name="adj" fmla="val 50000"/>
            </a:avLst>
          </a:prstGeom>
          <a:gradFill>
            <a:gsLst>
              <a:gs pos="0">
                <a:srgbClr val="005AC6"/>
              </a:gs>
              <a:gs pos="100000">
                <a:srgbClr val="D05F74"/>
              </a:gs>
            </a:gsLst>
            <a:lin ang="0" scaled="1"/>
          </a:gradFill>
          <a:ln w="28575">
            <a:noFill/>
          </a:ln>
          <a:effectLst>
            <a:outerShdw blurRad="139700" dist="50800" dir="5400000" sx="103000" sy="103000" algn="ctr" rotWithShape="0">
              <a:srgbClr val="000000">
                <a:alpha val="50000"/>
              </a:srgb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err="1">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BCYouTube</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p>
        </p:txBody>
      </p:sp>
      <p:pic>
        <p:nvPicPr>
          <p:cNvPr id="2" name="Picture 1">
            <a:extLst>
              <a:ext uri="{FF2B5EF4-FFF2-40B4-BE49-F238E27FC236}">
                <a16:creationId xmlns:a16="http://schemas.microsoft.com/office/drawing/2014/main" id="{4478A1BA-F6D7-59D7-F233-38B81BAEE060}"/>
              </a:ext>
            </a:extLst>
          </p:cNvPr>
          <p:cNvPicPr>
            <a:picLocks noChangeAspect="1"/>
          </p:cNvPicPr>
          <p:nvPr/>
        </p:nvPicPr>
        <p:blipFill>
          <a:blip r:embed="rId7"/>
          <a:srcRect t="3188" b="14285"/>
          <a:stretch/>
        </p:blipFill>
        <p:spPr>
          <a:xfrm>
            <a:off x="5592150" y="1723000"/>
            <a:ext cx="5709413" cy="3671536"/>
          </a:xfrm>
          <a:prstGeom prst="rect">
            <a:avLst/>
          </a:prstGeom>
        </p:spPr>
      </p:pic>
    </p:spTree>
    <p:extLst>
      <p:ext uri="{BB962C8B-B14F-4D97-AF65-F5344CB8AC3E}">
        <p14:creationId xmlns:p14="http://schemas.microsoft.com/office/powerpoint/2010/main" val="137273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0 -2.96296E-6 L 0 -0.03541 " pathEditMode="relative" rAng="0" ptsTypes="AA">
                                          <p:cBhvr>
                                            <p:cTn id="9" dur="750" spd="-100000" fill="hold"/>
                                            <p:tgtEl>
                                              <p:spTgt spid="6"/>
                                            </p:tgtEl>
                                            <p:attrNameLst>
                                              <p:attrName>ppt_x</p:attrName>
                                              <p:attrName>ppt_y</p:attrName>
                                            </p:attrNameLst>
                                          </p:cBhvr>
                                          <p:rCtr x="0" y="-1782"/>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par>
                                    <p:cTn id="17" presetID="42" presetClass="path" presetSubtype="0" decel="100000" fill="hold" grpId="1" nodeType="withEffect">
                                      <p:stCondLst>
                                        <p:cond delay="0"/>
                                      </p:stCondLst>
                                      <p:childTnLst>
                                        <p:animMotion origin="layout" path="M -0.01719 -0.00024 L -8.33333E-7 4.44444E-6 " pathEditMode="relative" rAng="0" ptsTypes="AA">
                                          <p:cBhvr>
                                            <p:cTn id="18" dur="1000" fill="hold"/>
                                            <p:tgtEl>
                                              <p:spTgt spid="5"/>
                                            </p:tgtEl>
                                            <p:attrNameLst>
                                              <p:attrName>ppt_x</p:attrName>
                                              <p:attrName>ppt_y</p:attrName>
                                            </p:attrNameLst>
                                          </p:cBhvr>
                                          <p:rCtr x="859" y="0"/>
                                        </p:animMotion>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par>
                                    <p:cTn id="22" presetID="42" presetClass="path" presetSubtype="0" decel="100000" fill="hold" grpId="1" nodeType="withEffect">
                                      <p:stCondLst>
                                        <p:cond delay="0"/>
                                      </p:stCondLst>
                                      <p:childTnLst>
                                        <p:animMotion origin="layout" path="M -0.01719 -0.00023 L -8.33333E-7 0 " pathEditMode="relative" rAng="0" ptsTypes="AA">
                                          <p:cBhvr>
                                            <p:cTn id="23" dur="1000" fill="hold"/>
                                            <p:tgtEl>
                                              <p:spTgt spid="4"/>
                                            </p:tgtEl>
                                            <p:attrNameLst>
                                              <p:attrName>ppt_x</p:attrName>
                                              <p:attrName>ppt_y</p:attrName>
                                            </p:attrNameLst>
                                          </p:cBhvr>
                                          <p:rCtr x="859" y="0"/>
                                        </p:animMotion>
                                      </p:childTnLst>
                                    </p:cTn>
                                  </p:par>
                                </p:childTnLst>
                              </p:cTn>
                            </p:par>
                            <p:par>
                              <p:cTn id="24" fill="hold">
                                <p:stCondLst>
                                  <p:cond delay="175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childTnLst>
                                    </p:cTn>
                                  </p:par>
                                  <p:par>
                                    <p:cTn id="28" presetID="0" presetClass="path" presetSubtype="0" accel="50000" fill="hold" grpId="1" nodeType="withEffect" p14:presetBounceEnd="50000">
                                      <p:stCondLst>
                                        <p:cond delay="0"/>
                                      </p:stCondLst>
                                      <p:childTnLst>
                                        <p:animMotion origin="layout" path="M 1.875E-6 0.05208 L 1.875E-6 4.07407E-6 " pathEditMode="relative" rAng="0" ptsTypes="AA" p14:bounceEnd="50000">
                                          <p:cBhvr>
                                            <p:cTn id="29" dur="1000" fill="hold"/>
                                            <p:tgtEl>
                                              <p:spTgt spid="12"/>
                                            </p:tgtEl>
                                            <p:attrNameLst>
                                              <p:attrName>ppt_x</p:attrName>
                                              <p:attrName>ppt_y</p:attrName>
                                            </p:attrNameLst>
                                          </p:cBhvr>
                                          <p:rCtr x="0" y="-26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 grpId="0" animBg="1"/>
          <p:bldP spid="4" grpId="1" animBg="1"/>
          <p:bldP spid="5" grpId="0"/>
          <p:bldP spid="5" grpId="1"/>
          <p:bldP spid="12" grpId="0" animBg="1"/>
          <p:bldP spid="12"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0 -2.96296E-6 L 0 -0.03541 " pathEditMode="relative" rAng="0" ptsTypes="AA">
                                          <p:cBhvr>
                                            <p:cTn id="9" dur="750" spd="-100000" fill="hold"/>
                                            <p:tgtEl>
                                              <p:spTgt spid="6"/>
                                            </p:tgtEl>
                                            <p:attrNameLst>
                                              <p:attrName>ppt_x</p:attrName>
                                              <p:attrName>ppt_y</p:attrName>
                                            </p:attrNameLst>
                                          </p:cBhvr>
                                          <p:rCtr x="0" y="-1782"/>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par>
                                    <p:cTn id="17" presetID="42" presetClass="path" presetSubtype="0" decel="100000" fill="hold" grpId="1" nodeType="withEffect">
                                      <p:stCondLst>
                                        <p:cond delay="0"/>
                                      </p:stCondLst>
                                      <p:childTnLst>
                                        <p:animMotion origin="layout" path="M -0.01719 -0.00024 L -8.33333E-7 4.44444E-6 " pathEditMode="relative" rAng="0" ptsTypes="AA">
                                          <p:cBhvr>
                                            <p:cTn id="18" dur="1000" fill="hold"/>
                                            <p:tgtEl>
                                              <p:spTgt spid="5"/>
                                            </p:tgtEl>
                                            <p:attrNameLst>
                                              <p:attrName>ppt_x</p:attrName>
                                              <p:attrName>ppt_y</p:attrName>
                                            </p:attrNameLst>
                                          </p:cBhvr>
                                          <p:rCtr x="859" y="0"/>
                                        </p:animMotion>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par>
                                    <p:cTn id="22" presetID="42" presetClass="path" presetSubtype="0" decel="100000" fill="hold" grpId="1" nodeType="withEffect">
                                      <p:stCondLst>
                                        <p:cond delay="0"/>
                                      </p:stCondLst>
                                      <p:childTnLst>
                                        <p:animMotion origin="layout" path="M -0.01719 -0.00023 L -8.33333E-7 0 " pathEditMode="relative" rAng="0" ptsTypes="AA">
                                          <p:cBhvr>
                                            <p:cTn id="23" dur="1000" fill="hold"/>
                                            <p:tgtEl>
                                              <p:spTgt spid="4"/>
                                            </p:tgtEl>
                                            <p:attrNameLst>
                                              <p:attrName>ppt_x</p:attrName>
                                              <p:attrName>ppt_y</p:attrName>
                                            </p:attrNameLst>
                                          </p:cBhvr>
                                          <p:rCtr x="859" y="0"/>
                                        </p:animMotion>
                                      </p:childTnLst>
                                    </p:cTn>
                                  </p:par>
                                </p:childTnLst>
                              </p:cTn>
                            </p:par>
                            <p:par>
                              <p:cTn id="24" fill="hold">
                                <p:stCondLst>
                                  <p:cond delay="175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childTnLst>
                                    </p:cTn>
                                  </p:par>
                                  <p:par>
                                    <p:cTn id="28" presetID="0" presetClass="path" presetSubtype="0" accel="50000" fill="hold" grpId="1" nodeType="withEffect">
                                      <p:stCondLst>
                                        <p:cond delay="0"/>
                                      </p:stCondLst>
                                      <p:childTnLst>
                                        <p:animMotion origin="layout" path="M 1.875E-6 0.05208 L 1.875E-6 4.07407E-6 " pathEditMode="relative" rAng="0" ptsTypes="AA">
                                          <p:cBhvr>
                                            <p:cTn id="29" dur="1000" fill="hold"/>
                                            <p:tgtEl>
                                              <p:spTgt spid="12"/>
                                            </p:tgtEl>
                                            <p:attrNameLst>
                                              <p:attrName>ppt_x</p:attrName>
                                              <p:attrName>ppt_y</p:attrName>
                                            </p:attrNameLst>
                                          </p:cBhvr>
                                          <p:rCtr x="0" y="-26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 grpId="0" animBg="1"/>
          <p:bldP spid="4" grpId="1" animBg="1"/>
          <p:bldP spid="5" grpId="0"/>
          <p:bldP spid="5" grpId="1"/>
          <p:bldP spid="12" grpId="0" animBg="1"/>
          <p:bldP spid="12" grpId="1"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158275-F765-F194-EDE5-718EC1185948}"/>
              </a:ext>
            </a:extLst>
          </p:cNvPr>
          <p:cNvSpPr>
            <a:spLocks noGrp="1"/>
          </p:cNvSpPr>
          <p:nvPr>
            <p:ph type="title"/>
          </p:nvPr>
        </p:nvSpPr>
        <p:spPr>
          <a:xfrm>
            <a:off x="626691" y="2598003"/>
            <a:ext cx="2285566" cy="1661993"/>
          </a:xfrm>
        </p:spPr>
        <p:txBody>
          <a:bodyPr/>
          <a:lstStyle/>
          <a:p>
            <a:r>
              <a:rPr lang="en-US"/>
              <a:t>Financial reporting for users</a:t>
            </a:r>
            <a:endParaRPr lang="en-GB"/>
          </a:p>
        </p:txBody>
      </p:sp>
      <p:sp>
        <p:nvSpPr>
          <p:cNvPr id="6" name="Text Placeholder 5">
            <a:extLst>
              <a:ext uri="{FF2B5EF4-FFF2-40B4-BE49-F238E27FC236}">
                <a16:creationId xmlns:a16="http://schemas.microsoft.com/office/drawing/2014/main" id="{51C7842B-0539-20D1-3889-4B8E60AFB9B1}"/>
              </a:ext>
            </a:extLst>
          </p:cNvPr>
          <p:cNvSpPr>
            <a:spLocks noGrp="1"/>
          </p:cNvSpPr>
          <p:nvPr>
            <p:ph type="body" sz="quarter" idx="10"/>
          </p:nvPr>
        </p:nvSpPr>
        <p:spPr>
          <a:xfrm>
            <a:off x="4519613" y="912620"/>
            <a:ext cx="6936014" cy="430887"/>
          </a:xfrm>
        </p:spPr>
        <p:txBody>
          <a:bodyPr/>
          <a:lstStyle/>
          <a:p>
            <a:r>
              <a:rPr lang="en-US" sz="2800"/>
              <a:t>A slimmer user interface</a:t>
            </a:r>
            <a:endParaRPr lang="en-GB" sz="2800"/>
          </a:p>
        </p:txBody>
      </p:sp>
      <p:sp>
        <p:nvSpPr>
          <p:cNvPr id="7" name="Text Placeholder 6">
            <a:extLst>
              <a:ext uri="{FF2B5EF4-FFF2-40B4-BE49-F238E27FC236}">
                <a16:creationId xmlns:a16="http://schemas.microsoft.com/office/drawing/2014/main" id="{4528BD86-9C86-56C7-9CD3-1E316E4D8404}"/>
              </a:ext>
            </a:extLst>
          </p:cNvPr>
          <p:cNvSpPr>
            <a:spLocks noGrp="1"/>
          </p:cNvSpPr>
          <p:nvPr>
            <p:ph type="body" sz="quarter" idx="11"/>
          </p:nvPr>
        </p:nvSpPr>
        <p:spPr>
          <a:xfrm>
            <a:off x="4519613" y="1888374"/>
            <a:ext cx="6936014" cy="430887"/>
          </a:xfrm>
        </p:spPr>
        <p:txBody>
          <a:bodyPr/>
          <a:lstStyle/>
          <a:p>
            <a:r>
              <a:rPr lang="en-US" sz="2800"/>
              <a:t>Accounting format for negative numbers</a:t>
            </a:r>
            <a:endParaRPr lang="en-GB" sz="2800"/>
          </a:p>
        </p:txBody>
      </p:sp>
      <p:sp>
        <p:nvSpPr>
          <p:cNvPr id="8" name="Text Placeholder 7">
            <a:extLst>
              <a:ext uri="{FF2B5EF4-FFF2-40B4-BE49-F238E27FC236}">
                <a16:creationId xmlns:a16="http://schemas.microsoft.com/office/drawing/2014/main" id="{061602DA-24FB-8304-3D1E-EE74B5CD242D}"/>
              </a:ext>
            </a:extLst>
          </p:cNvPr>
          <p:cNvSpPr>
            <a:spLocks noGrp="1"/>
          </p:cNvSpPr>
          <p:nvPr>
            <p:ph type="body" sz="quarter" idx="12"/>
          </p:nvPr>
        </p:nvSpPr>
        <p:spPr>
          <a:xfrm>
            <a:off x="4519613" y="2689665"/>
            <a:ext cx="6936014" cy="430887"/>
          </a:xfrm>
        </p:spPr>
        <p:txBody>
          <a:bodyPr/>
          <a:lstStyle/>
          <a:p>
            <a:r>
              <a:rPr lang="en-US" sz="2800"/>
              <a:t>Portrait mode PDF</a:t>
            </a:r>
            <a:endParaRPr lang="en-GB" sz="2800"/>
          </a:p>
        </p:txBody>
      </p:sp>
      <p:sp>
        <p:nvSpPr>
          <p:cNvPr id="12" name="Text Placeholder 11">
            <a:extLst>
              <a:ext uri="{FF2B5EF4-FFF2-40B4-BE49-F238E27FC236}">
                <a16:creationId xmlns:a16="http://schemas.microsoft.com/office/drawing/2014/main" id="{04501A49-1AFB-64E8-6EC5-3BD2ED213507}"/>
              </a:ext>
            </a:extLst>
          </p:cNvPr>
          <p:cNvSpPr>
            <a:spLocks noGrp="1"/>
          </p:cNvSpPr>
          <p:nvPr>
            <p:ph type="body" sz="quarter" idx="16"/>
          </p:nvPr>
        </p:nvSpPr>
        <p:spPr/>
        <p:txBody>
          <a:bodyPr/>
          <a:lstStyle/>
          <a:p>
            <a:r>
              <a:rPr lang="en-DK"/>
              <a:t>1</a:t>
            </a:r>
            <a:endParaRPr lang="en-GB"/>
          </a:p>
        </p:txBody>
      </p:sp>
      <p:sp>
        <p:nvSpPr>
          <p:cNvPr id="13" name="Text Placeholder 12">
            <a:extLst>
              <a:ext uri="{FF2B5EF4-FFF2-40B4-BE49-F238E27FC236}">
                <a16:creationId xmlns:a16="http://schemas.microsoft.com/office/drawing/2014/main" id="{57C9C9E2-6A49-E94D-990A-73CC87DA9D53}"/>
              </a:ext>
            </a:extLst>
          </p:cNvPr>
          <p:cNvSpPr>
            <a:spLocks noGrp="1"/>
          </p:cNvSpPr>
          <p:nvPr>
            <p:ph type="body" sz="quarter" idx="17"/>
          </p:nvPr>
        </p:nvSpPr>
        <p:spPr/>
        <p:txBody>
          <a:bodyPr/>
          <a:lstStyle/>
          <a:p>
            <a:r>
              <a:rPr lang="en-DK"/>
              <a:t>2</a:t>
            </a:r>
            <a:endParaRPr lang="en-GB"/>
          </a:p>
        </p:txBody>
      </p:sp>
      <p:sp>
        <p:nvSpPr>
          <p:cNvPr id="14" name="Text Placeholder 13">
            <a:extLst>
              <a:ext uri="{FF2B5EF4-FFF2-40B4-BE49-F238E27FC236}">
                <a16:creationId xmlns:a16="http://schemas.microsoft.com/office/drawing/2014/main" id="{29E89BE3-7532-E4F7-11D8-15B00C80CA20}"/>
              </a:ext>
            </a:extLst>
          </p:cNvPr>
          <p:cNvSpPr>
            <a:spLocks noGrp="1"/>
          </p:cNvSpPr>
          <p:nvPr>
            <p:ph type="body" sz="quarter" idx="18"/>
          </p:nvPr>
        </p:nvSpPr>
        <p:spPr/>
        <p:txBody>
          <a:bodyPr/>
          <a:lstStyle/>
          <a:p>
            <a:r>
              <a:rPr lang="en-DK"/>
              <a:t>3</a:t>
            </a:r>
            <a:endParaRPr lang="en-GB"/>
          </a:p>
        </p:txBody>
      </p:sp>
      <p:sp>
        <p:nvSpPr>
          <p:cNvPr id="18" name="Text Placeholder 7">
            <a:extLst>
              <a:ext uri="{FF2B5EF4-FFF2-40B4-BE49-F238E27FC236}">
                <a16:creationId xmlns:a16="http://schemas.microsoft.com/office/drawing/2014/main" id="{6C7DDAA7-8B44-8AB1-2A04-F1C4E9956425}"/>
              </a:ext>
            </a:extLst>
          </p:cNvPr>
          <p:cNvSpPr txBox="1">
            <a:spLocks/>
          </p:cNvSpPr>
          <p:nvPr/>
        </p:nvSpPr>
        <p:spPr>
          <a:xfrm>
            <a:off x="4519613" y="3673444"/>
            <a:ext cx="6936014"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xcel layouts</a:t>
            </a:r>
            <a:endParaRPr kumimoji="0" lang="en-GB"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9" name="Text Placeholder 13">
            <a:extLst>
              <a:ext uri="{FF2B5EF4-FFF2-40B4-BE49-F238E27FC236}">
                <a16:creationId xmlns:a16="http://schemas.microsoft.com/office/drawing/2014/main" id="{72F83228-6DD1-E0F9-6DF5-32F04A776FBE}"/>
              </a:ext>
            </a:extLst>
          </p:cNvPr>
          <p:cNvSpPr txBox="1">
            <a:spLocks/>
          </p:cNvSpPr>
          <p:nvPr/>
        </p:nvSpPr>
        <p:spPr>
          <a:xfrm>
            <a:off x="3444986" y="3612615"/>
            <a:ext cx="552452" cy="552546"/>
          </a:xfrm>
          <a:prstGeom prst="ellipse">
            <a:avLst/>
          </a:prstGeom>
          <a:noFill/>
          <a:ln w="19050" cap="flat" cmpd="sng" algn="ctr">
            <a:solidFill>
              <a:schemeClr val="bg1">
                <a:lumMod val="95000"/>
              </a:schemeClr>
            </a:solidFill>
            <a:prstDash val="solid"/>
          </a:ln>
          <a:effectLst/>
        </p:spPr>
        <p:txBody>
          <a:bodyPr vert="horz" wrap="square" lIns="0" tIns="0" rIns="0" bIns="0"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gradFill>
                  <a:gsLst>
                    <a:gs pos="0">
                      <a:schemeClr val="accent3"/>
                    </a:gs>
                    <a:gs pos="67000">
                      <a:schemeClr val="accent1"/>
                    </a:gs>
                    <a:gs pos="100000">
                      <a:schemeClr val="accent5"/>
                    </a:gs>
                  </a:gsLst>
                  <a:lin ang="5400000" scaled="1"/>
                </a:gra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rPr>
              <a:t>4</a:t>
            </a:r>
            <a:endParaRPr kumimoji="0" lang="en-GB"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endParaRPr>
          </a:p>
        </p:txBody>
      </p:sp>
    </p:spTree>
    <p:extLst>
      <p:ext uri="{BB962C8B-B14F-4D97-AF65-F5344CB8AC3E}">
        <p14:creationId xmlns:p14="http://schemas.microsoft.com/office/powerpoint/2010/main" val="17012514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2.xml><?xml version="1.0" encoding="utf-8"?>
<a:theme xmlns:a="http://schemas.openxmlformats.org/drawingml/2006/main" name="BCLE Template 16:9">
  <a:themeElements>
    <a:clrScheme name="Custom 139">
      <a:dk1>
        <a:srgbClr val="000000"/>
      </a:dk1>
      <a:lt1>
        <a:srgbClr val="FFFFFF"/>
      </a:lt1>
      <a:dk2>
        <a:srgbClr val="2A446F"/>
      </a:dk2>
      <a:lt2>
        <a:srgbClr val="E8E6DF"/>
      </a:lt2>
      <a:accent1>
        <a:srgbClr val="0078D4"/>
      </a:accent1>
      <a:accent2>
        <a:srgbClr val="2A446F"/>
      </a:accent2>
      <a:accent3>
        <a:srgbClr val="C03BC4"/>
      </a:accent3>
      <a:accent4>
        <a:srgbClr val="8C8279"/>
      </a:accent4>
      <a:accent5>
        <a:srgbClr val="49C5B1"/>
      </a:accent5>
      <a:accent6>
        <a:srgbClr val="D7D2CB"/>
      </a:accent6>
      <a:hlink>
        <a:srgbClr val="C03BC4"/>
      </a:hlink>
      <a:folHlink>
        <a:srgbClr val="C03B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Envision_2023_16-9_Event-template.potx" id="{1042EA66-587C-4EDD-B9AE-CE87FCB3EAC7}" vid="{483CAE15-BED0-484D-850E-1CB206BF0F14}"/>
    </a:ext>
  </a:extLst>
</a:theme>
</file>

<file path=ppt/theme/theme3.xml><?xml version="1.0" encoding="utf-8"?>
<a:theme xmlns:a="http://schemas.openxmlformats.org/drawingml/2006/main" name="BAP">
  <a:themeElements>
    <a:clrScheme name="Custom 22">
      <a:dk1>
        <a:srgbClr val="000000"/>
      </a:dk1>
      <a:lt1>
        <a:srgbClr val="FFFFFF"/>
      </a:lt1>
      <a:dk2>
        <a:srgbClr val="091F2C"/>
      </a:dk2>
      <a:lt2>
        <a:srgbClr val="E8E6DF"/>
      </a:lt2>
      <a:accent1>
        <a:srgbClr val="0078D4"/>
      </a:accent1>
      <a:accent2>
        <a:srgbClr val="2A446F"/>
      </a:accent2>
      <a:accent3>
        <a:srgbClr val="C03BC4"/>
      </a:accent3>
      <a:accent4>
        <a:srgbClr val="8C8279"/>
      </a:accent4>
      <a:accent5>
        <a:srgbClr val="8DC8E8"/>
      </a:accent5>
      <a:accent6>
        <a:srgbClr val="D7D2CB"/>
      </a:accent6>
      <a:hlink>
        <a:srgbClr val="C03BC4"/>
      </a:hlink>
      <a:folHlink>
        <a:srgbClr val="C03BC4"/>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CLE Template 16:9">
  <a:themeElements>
    <a:clrScheme name="Custom 25">
      <a:dk1>
        <a:srgbClr val="000000"/>
      </a:dk1>
      <a:lt1>
        <a:srgbClr val="FFFFFF"/>
      </a:lt1>
      <a:dk2>
        <a:srgbClr val="0078D4"/>
      </a:dk2>
      <a:lt2>
        <a:srgbClr val="D7D2CB"/>
      </a:lt2>
      <a:accent1>
        <a:srgbClr val="1392B4"/>
      </a:accent1>
      <a:accent2>
        <a:srgbClr val="50E6FF"/>
      </a:accent2>
      <a:accent3>
        <a:srgbClr val="FEF000"/>
      </a:accent3>
      <a:accent4>
        <a:srgbClr val="49C5B1"/>
      </a:accent4>
      <a:accent5>
        <a:srgbClr val="B3EB75"/>
      </a:accent5>
      <a:accent6>
        <a:srgbClr val="2A446F"/>
      </a:accent6>
      <a:hlink>
        <a:srgbClr val="0078D4"/>
      </a:hlink>
      <a:folHlink>
        <a:srgbClr val="49C5B1"/>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Envision_2023_16-9_Event-template.potx" id="{1042EA66-587C-4EDD-B9AE-CE87FCB3EAC7}" vid="{483CAE15-BED0-484D-850E-1CB206BF0F14}"/>
    </a:ext>
  </a:extLst>
</a:theme>
</file>

<file path=ppt/theme/theme5.xml><?xml version="1.0" encoding="utf-8"?>
<a:theme xmlns:a="http://schemas.openxmlformats.org/drawingml/2006/main" name="2_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3" id="{A27CBA14-79C9-4147-B54D-D1CDFA6A7ECC}" vid="{FA88690D-C47D-D141-9748-5076AC231E5D}"/>
    </a:ext>
  </a:extLst>
</a:theme>
</file>

<file path=ppt/theme/theme6.xml><?xml version="1.0" encoding="utf-8"?>
<a:theme xmlns:a="http://schemas.openxmlformats.org/drawingml/2006/main" name="2_BCLE Template 16:9">
  <a:themeElements>
    <a:clrScheme name="Custom 25">
      <a:dk1>
        <a:srgbClr val="000000"/>
      </a:dk1>
      <a:lt1>
        <a:srgbClr val="FFFFFF"/>
      </a:lt1>
      <a:dk2>
        <a:srgbClr val="0078D4"/>
      </a:dk2>
      <a:lt2>
        <a:srgbClr val="D7D2CB"/>
      </a:lt2>
      <a:accent1>
        <a:srgbClr val="1392B4"/>
      </a:accent1>
      <a:accent2>
        <a:srgbClr val="50E6FF"/>
      </a:accent2>
      <a:accent3>
        <a:srgbClr val="FEF000"/>
      </a:accent3>
      <a:accent4>
        <a:srgbClr val="49C5B1"/>
      </a:accent4>
      <a:accent5>
        <a:srgbClr val="B3EB75"/>
      </a:accent5>
      <a:accent6>
        <a:srgbClr val="2A446F"/>
      </a:accent6>
      <a:hlink>
        <a:srgbClr val="0078D4"/>
      </a:hlink>
      <a:folHlink>
        <a:srgbClr val="49C5B1"/>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Envision_2023_16-9_Event-template.potx" id="{1042EA66-587C-4EDD-B9AE-CE87FCB3EAC7}" vid="{483CAE15-BED0-484D-850E-1CB206BF0F1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4342EFB900A94AB1C332367F9225A0" ma:contentTypeVersion="13" ma:contentTypeDescription="Create a new document." ma:contentTypeScope="" ma:versionID="2b23227603f070c9e27abc4206f9fdd4">
  <xsd:schema xmlns:xsd="http://www.w3.org/2001/XMLSchema" xmlns:xs="http://www.w3.org/2001/XMLSchema" xmlns:p="http://schemas.microsoft.com/office/2006/metadata/properties" xmlns:ns1="http://schemas.microsoft.com/sharepoint/v3" xmlns:ns2="234f3ff3-d7d7-45e6-b027-2537964c63fc" xmlns:ns3="0a2df28f-bf5c-40d4-a70e-6b8687585f43" targetNamespace="http://schemas.microsoft.com/office/2006/metadata/properties" ma:root="true" ma:fieldsID="da046fbf91842226188ce5bd67bf1d47" ns1:_="" ns2:_="" ns3:_="">
    <xsd:import namespace="http://schemas.microsoft.com/sharepoint/v3"/>
    <xsd:import namespace="234f3ff3-d7d7-45e6-b027-2537964c63fc"/>
    <xsd:import namespace="0a2df28f-bf5c-40d4-a70e-6b8687585f4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4f3ff3-d7d7-45e6-b027-2537964c63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2df28f-bf5c-40d4-a70e-6b8687585f43"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6c9c9dd-3f4b-4721-a5a6-23e62bf4782a}" ma:internalName="TaxCatchAll" ma:showField="CatchAllData" ma:web="0a2df28f-bf5c-40d4-a70e-6b8687585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234f3ff3-d7d7-45e6-b027-2537964c63fc">
      <Terms xmlns="http://schemas.microsoft.com/office/infopath/2007/PartnerControls"/>
    </lcf76f155ced4ddcb4097134ff3c332f>
    <TaxCatchAll xmlns="0a2df28f-bf5c-40d4-a70e-6b8687585f43" xsi:nil="true"/>
  </documentManagement>
</p:properties>
</file>

<file path=customXml/itemProps1.xml><?xml version="1.0" encoding="utf-8"?>
<ds:datastoreItem xmlns:ds="http://schemas.openxmlformats.org/officeDocument/2006/customXml" ds:itemID="{70F1B33A-FD72-40FB-82DB-D9BC0B1ECE4D}">
  <ds:schemaRefs>
    <ds:schemaRef ds:uri="0a2df28f-bf5c-40d4-a70e-6b8687585f43"/>
    <ds:schemaRef ds:uri="234f3ff3-d7d7-45e6-b027-2537964c63f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0a2df28f-bf5c-40d4-a70e-6b8687585f43"/>
    <ds:schemaRef ds:uri="234f3ff3-d7d7-45e6-b027-2537964c63f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ynamics_365_PowerPoint_template</Template>
  <TotalTime>1</TotalTime>
  <Words>2754</Words>
  <Application>Microsoft Office PowerPoint</Application>
  <PresentationFormat>Widescreen</PresentationFormat>
  <Paragraphs>491</Paragraphs>
  <Slides>80</Slides>
  <Notes>38</Notes>
  <HiddenSlides>1</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80</vt:i4>
      </vt:variant>
    </vt:vector>
  </HeadingPairs>
  <TitlesOfParts>
    <vt:vector size="99" baseType="lpstr">
      <vt:lpstr>Aptos</vt:lpstr>
      <vt:lpstr>Arial</vt:lpstr>
      <vt:lpstr>Arial Black</vt:lpstr>
      <vt:lpstr>Calibri</vt:lpstr>
      <vt:lpstr>Consolas</vt:lpstr>
      <vt:lpstr>Segoe UI</vt:lpstr>
      <vt:lpstr>Segoe UI Emoji</vt:lpstr>
      <vt:lpstr>Segoe UI Light</vt:lpstr>
      <vt:lpstr>Segoe UI Semibold</vt:lpstr>
      <vt:lpstr>Segoe UI Variable Text</vt:lpstr>
      <vt:lpstr>Symbol</vt:lpstr>
      <vt:lpstr>Wingdings</vt:lpstr>
      <vt:lpstr>Microsoft D365 template</vt:lpstr>
      <vt:lpstr>BCLE Template 16:9</vt:lpstr>
      <vt:lpstr>BAP</vt:lpstr>
      <vt:lpstr>1_BCLE Template 16:9</vt:lpstr>
      <vt:lpstr>2_Microsoft D365 template</vt:lpstr>
      <vt:lpstr>2_BCLE Template 16:9</vt:lpstr>
      <vt:lpstr>think-cell Slide</vt:lpstr>
      <vt:lpstr>Microsoft presents  What is new in analytics for Business Central in 2025 release wave 1</vt:lpstr>
      <vt:lpstr>Abstract (hidden slide)</vt:lpstr>
      <vt:lpstr>Agenda</vt:lpstr>
      <vt:lpstr>Typical analytics needs in organizations</vt:lpstr>
      <vt:lpstr>Discover and explore reports</vt:lpstr>
      <vt:lpstr>Demo</vt:lpstr>
      <vt:lpstr>What’s new in… Finance Manufacturing Sales …</vt:lpstr>
      <vt:lpstr>PowerPoint Presentation</vt:lpstr>
      <vt:lpstr>Financial reporting for users</vt:lpstr>
      <vt:lpstr>Financial reporting for authors</vt:lpstr>
      <vt:lpstr>Financial reporting for admins</vt:lpstr>
      <vt:lpstr>Sales analytics themes for 2025 release wave 1 (26.1)</vt:lpstr>
      <vt:lpstr>Phases of a sale</vt:lpstr>
      <vt:lpstr>PowerPoint Presentation</vt:lpstr>
      <vt:lpstr>PowerPoint Presentation</vt:lpstr>
      <vt:lpstr>PowerPoint Presentation</vt:lpstr>
      <vt:lpstr>Profitability analysis (pareto)</vt:lpstr>
      <vt:lpstr>Profitability analysis (item seasonality and profitability)</vt:lpstr>
      <vt:lpstr>Profitability analysis (sales staff)</vt:lpstr>
      <vt:lpstr>Profitability (by customer or sales staff)</vt:lpstr>
      <vt:lpstr>Customer demographics (location)</vt:lpstr>
      <vt:lpstr>Expand the map to get your world sales map</vt:lpstr>
      <vt:lpstr>Sales demographics (by item or customer)</vt:lpstr>
      <vt:lpstr>AI assisted sales analysis 1 (ad/hoc or by statistics)</vt:lpstr>
      <vt:lpstr>AI assisted sales analysis 2 (key drivers for high/low sales)</vt:lpstr>
      <vt:lpstr>AI assisted sales analysis 3 (segmentation)</vt:lpstr>
      <vt:lpstr>Hidden slide  This deck is for LE25-907a  LE25-907a Whats new in Power BI (for sales)  There are 3 4 videos Intro PBI for sales (the AI part) Learn more</vt:lpstr>
      <vt:lpstr>Enhanced Power BI app for Sales (26.1)</vt:lpstr>
      <vt:lpstr>Vision: For manufacturing analytics, in 2025</vt:lpstr>
      <vt:lpstr>Enhanced Power BI app for Manufacturing (26.1)</vt:lpstr>
      <vt:lpstr>Work Centre Load</vt:lpstr>
      <vt:lpstr>Expected Capacity Need</vt:lpstr>
      <vt:lpstr>Finished Production Order Breakdown</vt:lpstr>
      <vt:lpstr>PowerPoint Presentation</vt:lpstr>
      <vt:lpstr>PowerPoint Presentation</vt:lpstr>
      <vt:lpstr>PowerPoint Presentation</vt:lpstr>
      <vt:lpstr>Legacy: Production Order Statistics</vt:lpstr>
      <vt:lpstr>Modernized: Production Order Statistics</vt:lpstr>
      <vt:lpstr>Legacy: Capacity Task List</vt:lpstr>
      <vt:lpstr>Modernized: Capacity Task List</vt:lpstr>
      <vt:lpstr>Legacy: Subcontractor - Dispatch List</vt:lpstr>
      <vt:lpstr>Modernized: Subcontractor - Dispatch List</vt:lpstr>
      <vt:lpstr>Legacy: Where-Used (Top Level)</vt:lpstr>
      <vt:lpstr>Modernized: Where-Used (Top Level)</vt:lpstr>
      <vt:lpstr>Lecacy: Item - Able to Make (Timeline)</vt:lpstr>
      <vt:lpstr>Modernized: Item - Able to Make (Timeline)</vt:lpstr>
      <vt:lpstr>Demo: Production Order – WIP   5802</vt:lpstr>
      <vt:lpstr>Updated manufacturing reports (26.2)</vt:lpstr>
      <vt:lpstr>New Manufacturing reports</vt:lpstr>
      <vt:lpstr>Legacy Production cost reports</vt:lpstr>
      <vt:lpstr>Replaced: New Production Cost Shares report</vt:lpstr>
      <vt:lpstr>Legacy Work/Machine Center Load reports</vt:lpstr>
      <vt:lpstr>Replaced: New Work/Machine Center Load report</vt:lpstr>
      <vt:lpstr>New manufacturing reports (26.2)</vt:lpstr>
      <vt:lpstr>Obsolete Manufacturing reports</vt:lpstr>
      <vt:lpstr>Obsolete manufacturing reports (warning)</vt:lpstr>
      <vt:lpstr>Finance Excel reports now generally available</vt:lpstr>
      <vt:lpstr>Sales and purchasing Excel reports now generally available</vt:lpstr>
      <vt:lpstr>Sales and purchasing data analysis (26.1)</vt:lpstr>
      <vt:lpstr>Fixed assets Excel reports now generally available</vt:lpstr>
      <vt:lpstr>Fixed assets data analysis (25.3)</vt:lpstr>
      <vt:lpstr>Sustainability Excel reports (updated layouts)</vt:lpstr>
      <vt:lpstr>Legacy Excel reports have been obsoleted</vt:lpstr>
      <vt:lpstr>Reports that have been obsoleted</vt:lpstr>
      <vt:lpstr>Obsoleted features and reports</vt:lpstr>
      <vt:lpstr>Bonus: Inventory data analysis (26.1)</vt:lpstr>
      <vt:lpstr>Bonus: Project data analysis (26.1)</vt:lpstr>
      <vt:lpstr>Data analysis new features</vt:lpstr>
      <vt:lpstr>Flashback 2023RW2 List page analysis </vt:lpstr>
      <vt:lpstr>Add fields from related tables in Analysis Mode</vt:lpstr>
      <vt:lpstr>Demo</vt:lpstr>
      <vt:lpstr>Recap: Adding fields from related tables</vt:lpstr>
      <vt:lpstr>Learn more…</vt:lpstr>
      <vt:lpstr>PowerPoint Presentation</vt:lpstr>
      <vt:lpstr>PowerPoint Presentation</vt:lpstr>
      <vt:lpstr>Analytics aka links per functional area</vt:lpstr>
      <vt:lpstr>PowerPoint Presentation</vt:lpstr>
      <vt:lpstr>General Business Central resources</vt:lpstr>
      <vt:lpstr>Business Central analytics and reporting resources</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lt;Event name&gt;</dc:subject>
  <dc:creator>Emma Nielsson</dc:creator>
  <cp:keywords/>
  <dc:description/>
  <cp:lastModifiedBy>Kennie Pontoppidan</cp:lastModifiedBy>
  <cp:revision>2</cp:revision>
  <dcterms:created xsi:type="dcterms:W3CDTF">2022-09-06T10:42:26Z</dcterms:created>
  <dcterms:modified xsi:type="dcterms:W3CDTF">2025-04-11T00:42:52Z</dcterms:modified>
  <cp:category>Microsoft D365</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4342EFB900A94AB1C332367F9225A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MediaServiceImageTags">
    <vt:lpwstr/>
  </property>
</Properties>
</file>